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0" r:id="rId4"/>
  </p:sldMasterIdLst>
  <p:notesMasterIdLst>
    <p:notesMasterId r:id="rId17"/>
  </p:notesMasterIdLst>
  <p:handoutMasterIdLst>
    <p:handoutMasterId r:id="rId18"/>
  </p:handoutMasterIdLst>
  <p:sldIdLst>
    <p:sldId id="335" r:id="rId5"/>
    <p:sldId id="535" r:id="rId6"/>
    <p:sldId id="536" r:id="rId7"/>
    <p:sldId id="537" r:id="rId8"/>
    <p:sldId id="545" r:id="rId9"/>
    <p:sldId id="546" r:id="rId10"/>
    <p:sldId id="552" r:id="rId11"/>
    <p:sldId id="551" r:id="rId12"/>
    <p:sldId id="550" r:id="rId13"/>
    <p:sldId id="549" r:id="rId14"/>
    <p:sldId id="548" r:id="rId15"/>
    <p:sldId id="553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BB7F"/>
    <a:srgbClr val="BFD8FA"/>
    <a:srgbClr val="DBEBDA"/>
    <a:srgbClr val="000000"/>
    <a:srgbClr val="0C499C"/>
    <a:srgbClr val="FF0000"/>
    <a:srgbClr val="DB8EE0"/>
    <a:srgbClr val="FFCB97"/>
    <a:srgbClr val="009AD3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82" autoAdjust="0"/>
    <p:restoredTop sz="94342" autoAdjust="0"/>
  </p:normalViewPr>
  <p:slideViewPr>
    <p:cSldViewPr snapToGrid="0">
      <p:cViewPr varScale="1">
        <p:scale>
          <a:sx n="82" d="100"/>
          <a:sy n="82" d="100"/>
        </p:scale>
        <p:origin x="581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41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2449F3-72C7-4B5F-BAF5-B230C7F6101F}" type="datetimeFigureOut">
              <a:rPr lang="en-US" smtClean="0"/>
              <a:pPr/>
              <a:t>10/1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2D7F5C-0449-4215-BB8F-3A9A927ABD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45880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5A7A37-8D68-4FBD-B62A-040F2F35FB1A}" type="datetimeFigureOut">
              <a:rPr lang="en-US" smtClean="0"/>
              <a:pPr/>
              <a:t>10/1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DEB6DD-C8BE-4520-8782-4C594166E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2822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DEB6DD-C8BE-4520-8782-4C594166EC6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955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B8B13C5-DBE1-4BF9-95FC-AC20BD3243DA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342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extLst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fld id="{33E34D36-B383-4B56-81C6-5DBA111394FC}" type="slidenum">
              <a:rPr lang="en-US" sz="1200" smtClean="0">
                <a:latin typeface="Times" pitchFamily="18" charset="0"/>
              </a:rPr>
              <a:pPr>
                <a:defRPr/>
              </a:pPr>
              <a:t>12</a:t>
            </a:fld>
            <a:endParaRPr lang="en-US" sz="1200">
              <a:latin typeface="Times" pitchFamily="18" charset="0"/>
            </a:endParaRPr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2588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411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 txBox="1">
            <a:spLocks noGrp="1" noChangeArrowheads="1"/>
          </p:cNvSpPr>
          <p:nvPr/>
        </p:nvSpPr>
        <p:spPr bwMode="auto">
          <a:xfrm>
            <a:off x="4289425" y="334964"/>
            <a:ext cx="2025650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9229" eaLnBrk="0" hangingPunct="0">
              <a:lnSpc>
                <a:spcPct val="68000"/>
              </a:lnSpc>
              <a:buClr>
                <a:srgbClr val="FFFFFF"/>
              </a:buClr>
              <a:buSzPct val="100000"/>
            </a:pPr>
            <a:r>
              <a:rPr lang="de-DE" sz="600" dirty="0">
                <a:solidFill>
                  <a:srgbClr val="000000"/>
                </a:solidFill>
                <a:latin typeface="Tele-GroteskNor" pitchFamily="2" charset="0"/>
              </a:rPr>
              <a:t>13.08.2007</a:t>
            </a:r>
          </a:p>
        </p:txBody>
      </p:sp>
      <p:sp>
        <p:nvSpPr>
          <p:cNvPr id="14339" name="Rectangle 5"/>
          <p:cNvSpPr txBox="1">
            <a:spLocks noGrp="1" noChangeArrowheads="1"/>
          </p:cNvSpPr>
          <p:nvPr/>
        </p:nvSpPr>
        <p:spPr bwMode="auto">
          <a:xfrm>
            <a:off x="4289425" y="506414"/>
            <a:ext cx="2025650" cy="12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9229" eaLnBrk="0" hangingPunct="0">
              <a:lnSpc>
                <a:spcPct val="68000"/>
              </a:lnSpc>
              <a:buClr>
                <a:srgbClr val="FFFFFF"/>
              </a:buClr>
              <a:buSzPct val="100000"/>
            </a:pPr>
            <a:fld id="{8EAFC0C5-BBF1-4DAD-BDD0-E96D4DBE7557}" type="slidenum">
              <a:rPr lang="de-DE" sz="600">
                <a:solidFill>
                  <a:srgbClr val="000000"/>
                </a:solidFill>
                <a:latin typeface="Tele-GroteskNor" pitchFamily="2" charset="0"/>
              </a:rPr>
              <a:pPr algn="r" defTabSz="449229" eaLnBrk="0" hangingPunct="0">
                <a:lnSpc>
                  <a:spcPct val="68000"/>
                </a:lnSpc>
                <a:buClr>
                  <a:srgbClr val="FFFFFF"/>
                </a:buClr>
                <a:buSzPct val="100000"/>
              </a:pPr>
              <a:t>2</a:t>
            </a:fld>
            <a:endParaRPr lang="de-DE" sz="6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4340" name="Rectangle 10"/>
          <p:cNvSpPr txBox="1">
            <a:spLocks noGrp="1" noChangeArrowheads="1"/>
          </p:cNvSpPr>
          <p:nvPr/>
        </p:nvSpPr>
        <p:spPr bwMode="auto">
          <a:xfrm>
            <a:off x="4289425" y="422276"/>
            <a:ext cx="2025650" cy="11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9229" eaLnBrk="0" hangingPunct="0">
              <a:lnSpc>
                <a:spcPct val="68000"/>
              </a:lnSpc>
              <a:buClr>
                <a:srgbClr val="FFFFFF"/>
              </a:buClr>
              <a:buSzPct val="100000"/>
            </a:pPr>
            <a:r>
              <a:rPr lang="de-DE" sz="600" dirty="0">
                <a:solidFill>
                  <a:srgbClr val="000000"/>
                </a:solidFill>
                <a:latin typeface="Tele-GroteskNor" pitchFamily="2" charset="0"/>
              </a:rPr>
              <a:t>Autor / Thema der Präsentation</a:t>
            </a:r>
          </a:p>
        </p:txBody>
      </p:sp>
      <p:sp>
        <p:nvSpPr>
          <p:cNvPr id="14341" name="Rectangle 8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66688" y="757238"/>
            <a:ext cx="6526212" cy="36718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2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6102" y="4572001"/>
            <a:ext cx="5768975" cy="4237038"/>
          </a:xfrm>
          <a:noFill/>
        </p:spPr>
        <p:txBody>
          <a:bodyPr wrap="square" lIns="91483" tIns="45741" rIns="91483" bIns="45741" numCol="1" anchor="t" anchorCtr="0" compatLnSpc="1">
            <a:prstTxWarp prst="textNoShape">
              <a:avLst/>
            </a:prstTxWarp>
          </a:bodyPr>
          <a:lstStyle/>
          <a:p>
            <a:pPr marL="179375" indent="-179375" defTabSz="912745" eaLnBrk="1" hangingPunct="1"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7283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extLst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fld id="{33E34D36-B383-4B56-81C6-5DBA111394FC}" type="slidenum">
              <a:rPr lang="en-US" sz="1200" smtClean="0">
                <a:latin typeface="Times" pitchFamily="18" charset="0"/>
              </a:rPr>
              <a:pPr>
                <a:defRPr/>
              </a:pPr>
              <a:t>3</a:t>
            </a:fld>
            <a:endParaRPr lang="en-US" sz="1200">
              <a:latin typeface="Times" pitchFamily="18" charset="0"/>
            </a:endParaRPr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2588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708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FE61FD1-8F87-409C-84F6-159175BAEE0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7204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B8B13C5-DBE1-4BF9-95FC-AC20BD3243D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5321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B8B13C5-DBE1-4BF9-95FC-AC20BD3243D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5973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B8B13C5-DBE1-4BF9-95FC-AC20BD3243D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3135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B8B13C5-DBE1-4BF9-95FC-AC20BD3243DA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1313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B8B13C5-DBE1-4BF9-95FC-AC20BD3243DA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625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D06E3CF6-72B6-2D41-B847-1E44788D4E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342" y="3295464"/>
            <a:ext cx="2590053" cy="86250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812" r="-90" b="29757"/>
          <a:stretch/>
        </p:blipFill>
        <p:spPr>
          <a:xfrm>
            <a:off x="0" y="1689067"/>
            <a:ext cx="12192000" cy="212090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540000" y="6611940"/>
            <a:ext cx="7112000" cy="20774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kern="120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© 2018 Microsemi,</a:t>
            </a:r>
            <a:r>
              <a:rPr lang="en-US" sz="750" kern="1200" baseline="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 a wholly owned subsidiary of Microchip Technology Inc.</a:t>
            </a:r>
            <a:endParaRPr lang="en-US" sz="750" kern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9200" y="3810000"/>
            <a:ext cx="9753600" cy="1066800"/>
          </a:xfrm>
        </p:spPr>
        <p:txBody>
          <a:bodyPr anchor="b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550" b="1">
                <a:solidFill>
                  <a:srgbClr val="0C499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9200" y="4876800"/>
            <a:ext cx="9753600" cy="13716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Slide Number Placeholder 5"/>
          <p:cNvSpPr txBox="1">
            <a:spLocks/>
          </p:cNvSpPr>
          <p:nvPr/>
        </p:nvSpPr>
        <p:spPr>
          <a:xfrm>
            <a:off x="9226551" y="6588128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r">
              <a:defRPr/>
            </a:pPr>
            <a:fld id="{AE71AD8B-CB87-4DB0-8C69-27A90145503C}" type="slidenum">
              <a:rPr lang="en-US" sz="675" smtClean="0">
                <a:latin typeface="+mn-lt"/>
                <a:ea typeface="+mn-ea"/>
                <a:cs typeface="+mn-cs"/>
              </a:rPr>
              <a:pPr algn="r">
                <a:defRPr/>
              </a:pPr>
              <a:t>‹#›</a:t>
            </a:fld>
            <a:endParaRPr lang="en-US" sz="675" dirty="0"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/>
          <p:nvPr userDrawn="1"/>
        </p:nvSpPr>
        <p:spPr bwMode="auto">
          <a:xfrm rot="10800000">
            <a:off x="0" y="1066801"/>
            <a:ext cx="12192000" cy="533400"/>
          </a:xfrm>
          <a:custGeom>
            <a:avLst/>
            <a:gdLst>
              <a:gd name="connsiteX0" fmla="*/ 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0 w 7620000"/>
              <a:gd name="connsiteY4" fmla="*/ 0 h 838200"/>
              <a:gd name="connsiteX0" fmla="*/ 30480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304800 w 7620000"/>
              <a:gd name="connsiteY4" fmla="*/ 0 h 838200"/>
              <a:gd name="connsiteX0" fmla="*/ 304800 w 7620000"/>
              <a:gd name="connsiteY0" fmla="*/ 838200 h 1676400"/>
              <a:gd name="connsiteX1" fmla="*/ 7620000 w 7620000"/>
              <a:gd name="connsiteY1" fmla="*/ 838200 h 1676400"/>
              <a:gd name="connsiteX2" fmla="*/ 7620000 w 7620000"/>
              <a:gd name="connsiteY2" fmla="*/ 1676400 h 1676400"/>
              <a:gd name="connsiteX3" fmla="*/ 0 w 7620000"/>
              <a:gd name="connsiteY3" fmla="*/ 0 h 1676400"/>
              <a:gd name="connsiteX4" fmla="*/ 304800 w 7620000"/>
              <a:gd name="connsiteY4" fmla="*/ 838200 h 1676400"/>
              <a:gd name="connsiteX0" fmla="*/ 304800 w 7620000"/>
              <a:gd name="connsiteY0" fmla="*/ 838200 h 838200"/>
              <a:gd name="connsiteX1" fmla="*/ 7620000 w 7620000"/>
              <a:gd name="connsiteY1" fmla="*/ 838200 h 838200"/>
              <a:gd name="connsiteX2" fmla="*/ 7620000 w 7620000"/>
              <a:gd name="connsiteY2" fmla="*/ 0 h 838200"/>
              <a:gd name="connsiteX3" fmla="*/ 0 w 7620000"/>
              <a:gd name="connsiteY3" fmla="*/ 0 h 838200"/>
              <a:gd name="connsiteX4" fmla="*/ 304800 w 76200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0 h 838200"/>
              <a:gd name="connsiteX3" fmla="*/ 0 w 7772400"/>
              <a:gd name="connsiteY3" fmla="*/ 0 h 838200"/>
              <a:gd name="connsiteX4" fmla="*/ 304800 w 77724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838200 h 838200"/>
              <a:gd name="connsiteX3" fmla="*/ 7772400 w 7772400"/>
              <a:gd name="connsiteY3" fmla="*/ 0 h 838200"/>
              <a:gd name="connsiteX4" fmla="*/ 0 w 7772400"/>
              <a:gd name="connsiteY4" fmla="*/ 0 h 838200"/>
              <a:gd name="connsiteX5" fmla="*/ 304800 w 7772400"/>
              <a:gd name="connsiteY5" fmla="*/ 838200 h 838200"/>
              <a:gd name="connsiteX0" fmla="*/ 1676738 w 9144338"/>
              <a:gd name="connsiteY0" fmla="*/ 957548 h 957548"/>
              <a:gd name="connsiteX1" fmla="*/ 8991938 w 9144338"/>
              <a:gd name="connsiteY1" fmla="*/ 957548 h 957548"/>
              <a:gd name="connsiteX2" fmla="*/ 9144338 w 9144338"/>
              <a:gd name="connsiteY2" fmla="*/ 957548 h 957548"/>
              <a:gd name="connsiteX3" fmla="*/ 9144338 w 9144338"/>
              <a:gd name="connsiteY3" fmla="*/ 119348 h 957548"/>
              <a:gd name="connsiteX4" fmla="*/ 1371938 w 9144338"/>
              <a:gd name="connsiteY4" fmla="*/ 119348 h 957548"/>
              <a:gd name="connsiteX5" fmla="*/ 0 w 9144338"/>
              <a:gd name="connsiteY5" fmla="*/ 10175 h 957548"/>
              <a:gd name="connsiteX6" fmla="*/ 1676738 w 9144338"/>
              <a:gd name="connsiteY6" fmla="*/ 957548 h 957548"/>
              <a:gd name="connsiteX0" fmla="*/ 676 w 9144338"/>
              <a:gd name="connsiteY0" fmla="*/ 937198 h 957550"/>
              <a:gd name="connsiteX1" fmla="*/ 8991938 w 9144338"/>
              <a:gd name="connsiteY1" fmla="*/ 957550 h 957550"/>
              <a:gd name="connsiteX2" fmla="*/ 9144338 w 9144338"/>
              <a:gd name="connsiteY2" fmla="*/ 957550 h 957550"/>
              <a:gd name="connsiteX3" fmla="*/ 9144338 w 9144338"/>
              <a:gd name="connsiteY3" fmla="*/ 119350 h 957550"/>
              <a:gd name="connsiteX4" fmla="*/ 1371938 w 9144338"/>
              <a:gd name="connsiteY4" fmla="*/ 119350 h 957550"/>
              <a:gd name="connsiteX5" fmla="*/ 0 w 9144338"/>
              <a:gd name="connsiteY5" fmla="*/ 10177 h 957550"/>
              <a:gd name="connsiteX6" fmla="*/ 676 w 9144338"/>
              <a:gd name="connsiteY6" fmla="*/ 937198 h 957550"/>
              <a:gd name="connsiteX0" fmla="*/ 338 w 9144000"/>
              <a:gd name="connsiteY0" fmla="*/ 957544 h 977896"/>
              <a:gd name="connsiteX1" fmla="*/ 8991600 w 9144000"/>
              <a:gd name="connsiteY1" fmla="*/ 977896 h 977896"/>
              <a:gd name="connsiteX2" fmla="*/ 9144000 w 9144000"/>
              <a:gd name="connsiteY2" fmla="*/ 977896 h 977896"/>
              <a:gd name="connsiteX3" fmla="*/ 9144000 w 9144000"/>
              <a:gd name="connsiteY3" fmla="*/ 139696 h 977896"/>
              <a:gd name="connsiteX4" fmla="*/ 1371600 w 9144000"/>
              <a:gd name="connsiteY4" fmla="*/ 139696 h 977896"/>
              <a:gd name="connsiteX5" fmla="*/ 0 w 9144000"/>
              <a:gd name="connsiteY5" fmla="*/ 10176 h 977896"/>
              <a:gd name="connsiteX6" fmla="*/ 338 w 9144000"/>
              <a:gd name="connsiteY6" fmla="*/ 957544 h 977896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5" fmla="*/ 1463040 w 9144000"/>
              <a:gd name="connsiteY5" fmla="*/ 297159 h 967719"/>
              <a:gd name="connsiteX0" fmla="*/ 0 w 9144000"/>
              <a:gd name="connsiteY0" fmla="*/ 1 h 967721"/>
              <a:gd name="connsiteX1" fmla="*/ 338 w 9144000"/>
              <a:gd name="connsiteY1" fmla="*/ 947369 h 967721"/>
              <a:gd name="connsiteX2" fmla="*/ 8991600 w 9144000"/>
              <a:gd name="connsiteY2" fmla="*/ 967721 h 967721"/>
              <a:gd name="connsiteX3" fmla="*/ 9144000 w 9144000"/>
              <a:gd name="connsiteY3" fmla="*/ 967721 h 967721"/>
              <a:gd name="connsiteX4" fmla="*/ 9144000 w 9144000"/>
              <a:gd name="connsiteY4" fmla="*/ 129521 h 967721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0" fmla="*/ 0 w 9144000"/>
              <a:gd name="connsiteY0" fmla="*/ 20360 h 988080"/>
              <a:gd name="connsiteX1" fmla="*/ 338 w 9144000"/>
              <a:gd name="connsiteY1" fmla="*/ 967728 h 988080"/>
              <a:gd name="connsiteX2" fmla="*/ 8991600 w 9144000"/>
              <a:gd name="connsiteY2" fmla="*/ 988080 h 988080"/>
              <a:gd name="connsiteX3" fmla="*/ 9144000 w 9144000"/>
              <a:gd name="connsiteY3" fmla="*/ 988080 h 988080"/>
              <a:gd name="connsiteX4" fmla="*/ 9144000 w 9144000"/>
              <a:gd name="connsiteY4" fmla="*/ 0 h 98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988080">
                <a:moveTo>
                  <a:pt x="0" y="20360"/>
                </a:moveTo>
                <a:cubicBezTo>
                  <a:pt x="225" y="329367"/>
                  <a:pt x="113" y="658721"/>
                  <a:pt x="338" y="967728"/>
                </a:cubicBezTo>
                <a:lnTo>
                  <a:pt x="8991600" y="988080"/>
                </a:lnTo>
                <a:lnTo>
                  <a:pt x="9144000" y="988080"/>
                </a:lnTo>
                <a:lnTo>
                  <a:pt x="9144000" y="0"/>
                </a:lnTo>
              </a:path>
            </a:pathLst>
          </a:custGeom>
          <a:gradFill flip="none" rotWithShape="1">
            <a:gsLst>
              <a:gs pos="0">
                <a:srgbClr val="104A9A"/>
              </a:gs>
              <a:gs pos="100000">
                <a:srgbClr val="2DA34B"/>
              </a:gs>
              <a:gs pos="50000">
                <a:srgbClr val="1BADE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949326"/>
            <a:ext cx="12192000" cy="228600"/>
          </a:xfrm>
          <a:prstGeom prst="rect">
            <a:avLst/>
          </a:prstGeom>
          <a:solidFill>
            <a:srgbClr val="1A2127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6A113C4B-BE12-9443-B558-5BD2317103AF}"/>
              </a:ext>
            </a:extLst>
          </p:cNvPr>
          <p:cNvSpPr/>
          <p:nvPr userDrawn="1"/>
        </p:nvSpPr>
        <p:spPr bwMode="auto">
          <a:xfrm>
            <a:off x="8689178" y="3190994"/>
            <a:ext cx="3502823" cy="740867"/>
          </a:xfrm>
          <a:custGeom>
            <a:avLst/>
            <a:gdLst>
              <a:gd name="connsiteX0" fmla="*/ 258403 w 3352800"/>
              <a:gd name="connsiteY0" fmla="*/ 0 h 685800"/>
              <a:gd name="connsiteX1" fmla="*/ 3352800 w 3352800"/>
              <a:gd name="connsiteY1" fmla="*/ 0 h 685800"/>
              <a:gd name="connsiteX2" fmla="*/ 3352800 w 3352800"/>
              <a:gd name="connsiteY2" fmla="*/ 0 h 685800"/>
              <a:gd name="connsiteX3" fmla="*/ 3352800 w 3352800"/>
              <a:gd name="connsiteY3" fmla="*/ 427397 h 685800"/>
              <a:gd name="connsiteX4" fmla="*/ 3094397 w 3352800"/>
              <a:gd name="connsiteY4" fmla="*/ 685800 h 685800"/>
              <a:gd name="connsiteX5" fmla="*/ 0 w 3352800"/>
              <a:gd name="connsiteY5" fmla="*/ 685800 h 685800"/>
              <a:gd name="connsiteX6" fmla="*/ 0 w 3352800"/>
              <a:gd name="connsiteY6" fmla="*/ 685800 h 685800"/>
              <a:gd name="connsiteX7" fmla="*/ 0 w 3352800"/>
              <a:gd name="connsiteY7" fmla="*/ 258403 h 685800"/>
              <a:gd name="connsiteX8" fmla="*/ 258403 w 3352800"/>
              <a:gd name="connsiteY8" fmla="*/ 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2800" h="685800">
                <a:moveTo>
                  <a:pt x="258403" y="0"/>
                </a:moveTo>
                <a:lnTo>
                  <a:pt x="3352800" y="0"/>
                </a:lnTo>
                <a:lnTo>
                  <a:pt x="3352800" y="0"/>
                </a:lnTo>
                <a:lnTo>
                  <a:pt x="3352800" y="427397"/>
                </a:lnTo>
                <a:cubicBezTo>
                  <a:pt x="3352800" y="570109"/>
                  <a:pt x="3237109" y="685800"/>
                  <a:pt x="3094397" y="685800"/>
                </a:cubicBezTo>
                <a:lnTo>
                  <a:pt x="0" y="685800"/>
                </a:lnTo>
                <a:lnTo>
                  <a:pt x="0" y="685800"/>
                </a:lnTo>
                <a:lnTo>
                  <a:pt x="0" y="258403"/>
                </a:lnTo>
                <a:cubicBezTo>
                  <a:pt x="0" y="115691"/>
                  <a:pt x="115691" y="0"/>
                  <a:pt x="25840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dirty="0"/>
              <a:t>    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3FBE4B-5F12-E64E-A172-C173196EA8BD}"/>
              </a:ext>
            </a:extLst>
          </p:cNvPr>
          <p:cNvSpPr/>
          <p:nvPr userDrawn="1"/>
        </p:nvSpPr>
        <p:spPr>
          <a:xfrm>
            <a:off x="12028098" y="3528204"/>
            <a:ext cx="163903" cy="40544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0720" y="3290756"/>
            <a:ext cx="2670629" cy="889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5299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7EE6AC-1D8E-44E0-B5C8-282D0E112CF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586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135467" y="6477000"/>
            <a:ext cx="2540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477000"/>
            <a:ext cx="38608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nfidential</a:t>
            </a:r>
            <a:endParaRPr lang="en-US" dirty="0">
              <a:latin typeface="Times" pitchFamily="18" charset="0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482667" y="6477000"/>
            <a:ext cx="2540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4E2E4A-8EBD-454B-85F7-74739B2F9ADC}" type="slidenum">
              <a:rPr lang="en-US"/>
              <a:pPr>
                <a:defRPr/>
              </a:pPr>
              <a:t>‹#›</a:t>
            </a:fld>
            <a:endParaRPr lang="en-US">
              <a:latin typeface="Times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41909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130704"/>
            <a:ext cx="9407173" cy="8318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>
              <a:defRPr lang="en-US" noProof="0" dirty="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27049" y="1261532"/>
            <a:ext cx="11260667" cy="5215471"/>
          </a:xfrm>
        </p:spPr>
        <p:txBody>
          <a:bodyPr/>
          <a:lstStyle>
            <a:lvl1pPr>
              <a:lnSpc>
                <a:spcPct val="100000"/>
              </a:lnSpc>
              <a:spcBef>
                <a:spcPts val="450"/>
              </a:spcBef>
              <a:defRPr/>
            </a:lvl1pPr>
            <a:lvl2pPr marL="342900" indent="-173831">
              <a:lnSpc>
                <a:spcPct val="100000"/>
              </a:lnSpc>
              <a:spcBef>
                <a:spcPts val="450"/>
              </a:spcBef>
              <a:defRPr/>
            </a:lvl2pPr>
            <a:lvl3pPr>
              <a:lnSpc>
                <a:spcPct val="100000"/>
              </a:lnSpc>
              <a:spcBef>
                <a:spcPts val="450"/>
              </a:spcBef>
              <a:defRPr/>
            </a:lvl3pPr>
            <a:lvl4pPr>
              <a:lnSpc>
                <a:spcPct val="100000"/>
              </a:lnSpc>
              <a:spcBef>
                <a:spcPts val="450"/>
              </a:spcBef>
              <a:defRPr/>
            </a:lvl4pPr>
            <a:lvl5pPr>
              <a:lnSpc>
                <a:spcPct val="100000"/>
              </a:lnSpc>
              <a:spcBef>
                <a:spcPts val="45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154081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43000"/>
            <a:ext cx="11582400" cy="5334000"/>
          </a:xfrm>
        </p:spPr>
        <p:txBody>
          <a:bodyPr/>
          <a:lstStyle>
            <a:lvl1pPr marL="215504" indent="-215504">
              <a:spcBef>
                <a:spcPts val="450"/>
              </a:spcBef>
              <a:defRPr/>
            </a:lvl1pPr>
            <a:lvl2pPr marL="428625" indent="-211931">
              <a:spcBef>
                <a:spcPts val="450"/>
              </a:spcBef>
              <a:defRPr/>
            </a:lvl2pPr>
            <a:lvl3pPr marL="645319" indent="-216694">
              <a:spcBef>
                <a:spcPts val="450"/>
              </a:spcBef>
              <a:defRPr/>
            </a:lvl3pPr>
            <a:lvl4pPr marL="857250" indent="-211931">
              <a:spcBef>
                <a:spcPts val="450"/>
              </a:spcBef>
              <a:defRPr/>
            </a:lvl4pPr>
            <a:lvl5pPr marL="1073944" indent="-216694">
              <a:spcBef>
                <a:spcPts val="45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802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C800-A33C-4C54-B839-3D1A1D26B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602D56-565F-4D41-AC3B-03FBFD98C5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143000"/>
            <a:ext cx="11582400" cy="5334000"/>
          </a:xfrm>
        </p:spPr>
        <p:txBody>
          <a:bodyPr/>
          <a:lstStyle>
            <a:lvl1pPr marL="298847" indent="-298847">
              <a:spcBef>
                <a:spcPts val="450"/>
              </a:spcBef>
              <a:buFont typeface="+mj-lt"/>
              <a:buAutoNum type="arabicPeriod"/>
              <a:defRPr/>
            </a:lvl1pPr>
            <a:lvl2pPr marL="554831" indent="-255985">
              <a:spcBef>
                <a:spcPts val="450"/>
              </a:spcBef>
              <a:buFont typeface="+mj-lt"/>
              <a:buAutoNum type="alphaUcPeriod"/>
              <a:defRPr/>
            </a:lvl2pPr>
            <a:lvl3pPr marL="772716" indent="-217885">
              <a:spcBef>
                <a:spcPts val="450"/>
              </a:spcBef>
              <a:buFont typeface="+mj-lt"/>
              <a:buAutoNum type="romanUcPeriod"/>
              <a:defRPr/>
            </a:lvl3pPr>
            <a:lvl4pPr marL="1028700" indent="-255985">
              <a:spcBef>
                <a:spcPts val="450"/>
              </a:spcBef>
              <a:buFont typeface="+mj-lt"/>
              <a:buAutoNum type="alphaLcParenR"/>
              <a:defRPr/>
            </a:lvl4pPr>
            <a:lvl5pPr marL="1203722" indent="-175022">
              <a:spcBef>
                <a:spcPts val="450"/>
              </a:spcBef>
              <a:buFont typeface="+mj-lt"/>
              <a:buAutoNum type="romanLcPeriod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769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 rot="10800000">
            <a:off x="812800" y="4452938"/>
            <a:ext cx="11379200" cy="119062"/>
          </a:xfrm>
          <a:custGeom>
            <a:avLst/>
            <a:gdLst>
              <a:gd name="connsiteX0" fmla="*/ 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0 w 7620000"/>
              <a:gd name="connsiteY4" fmla="*/ 0 h 838200"/>
              <a:gd name="connsiteX0" fmla="*/ 30480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304800 w 7620000"/>
              <a:gd name="connsiteY4" fmla="*/ 0 h 838200"/>
              <a:gd name="connsiteX0" fmla="*/ 304800 w 7620000"/>
              <a:gd name="connsiteY0" fmla="*/ 838200 h 1676400"/>
              <a:gd name="connsiteX1" fmla="*/ 7620000 w 7620000"/>
              <a:gd name="connsiteY1" fmla="*/ 838200 h 1676400"/>
              <a:gd name="connsiteX2" fmla="*/ 7620000 w 7620000"/>
              <a:gd name="connsiteY2" fmla="*/ 1676400 h 1676400"/>
              <a:gd name="connsiteX3" fmla="*/ 0 w 7620000"/>
              <a:gd name="connsiteY3" fmla="*/ 0 h 1676400"/>
              <a:gd name="connsiteX4" fmla="*/ 304800 w 7620000"/>
              <a:gd name="connsiteY4" fmla="*/ 838200 h 1676400"/>
              <a:gd name="connsiteX0" fmla="*/ 304800 w 7620000"/>
              <a:gd name="connsiteY0" fmla="*/ 838200 h 838200"/>
              <a:gd name="connsiteX1" fmla="*/ 7620000 w 7620000"/>
              <a:gd name="connsiteY1" fmla="*/ 838200 h 838200"/>
              <a:gd name="connsiteX2" fmla="*/ 7620000 w 7620000"/>
              <a:gd name="connsiteY2" fmla="*/ 0 h 838200"/>
              <a:gd name="connsiteX3" fmla="*/ 0 w 7620000"/>
              <a:gd name="connsiteY3" fmla="*/ 0 h 838200"/>
              <a:gd name="connsiteX4" fmla="*/ 304800 w 76200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0 h 838200"/>
              <a:gd name="connsiteX3" fmla="*/ 0 w 7772400"/>
              <a:gd name="connsiteY3" fmla="*/ 0 h 838200"/>
              <a:gd name="connsiteX4" fmla="*/ 304800 w 77724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838200 h 838200"/>
              <a:gd name="connsiteX3" fmla="*/ 7772400 w 7772400"/>
              <a:gd name="connsiteY3" fmla="*/ 0 h 838200"/>
              <a:gd name="connsiteX4" fmla="*/ 0 w 7772400"/>
              <a:gd name="connsiteY4" fmla="*/ 0 h 838200"/>
              <a:gd name="connsiteX5" fmla="*/ 304800 w 7772400"/>
              <a:gd name="connsiteY5" fmla="*/ 838200 h 838200"/>
              <a:gd name="connsiteX0" fmla="*/ 1676738 w 9144338"/>
              <a:gd name="connsiteY0" fmla="*/ 957548 h 957548"/>
              <a:gd name="connsiteX1" fmla="*/ 8991938 w 9144338"/>
              <a:gd name="connsiteY1" fmla="*/ 957548 h 957548"/>
              <a:gd name="connsiteX2" fmla="*/ 9144338 w 9144338"/>
              <a:gd name="connsiteY2" fmla="*/ 957548 h 957548"/>
              <a:gd name="connsiteX3" fmla="*/ 9144338 w 9144338"/>
              <a:gd name="connsiteY3" fmla="*/ 119348 h 957548"/>
              <a:gd name="connsiteX4" fmla="*/ 1371938 w 9144338"/>
              <a:gd name="connsiteY4" fmla="*/ 119348 h 957548"/>
              <a:gd name="connsiteX5" fmla="*/ 0 w 9144338"/>
              <a:gd name="connsiteY5" fmla="*/ 10175 h 957548"/>
              <a:gd name="connsiteX6" fmla="*/ 1676738 w 9144338"/>
              <a:gd name="connsiteY6" fmla="*/ 957548 h 957548"/>
              <a:gd name="connsiteX0" fmla="*/ 676 w 9144338"/>
              <a:gd name="connsiteY0" fmla="*/ 937198 h 957550"/>
              <a:gd name="connsiteX1" fmla="*/ 8991938 w 9144338"/>
              <a:gd name="connsiteY1" fmla="*/ 957550 h 957550"/>
              <a:gd name="connsiteX2" fmla="*/ 9144338 w 9144338"/>
              <a:gd name="connsiteY2" fmla="*/ 957550 h 957550"/>
              <a:gd name="connsiteX3" fmla="*/ 9144338 w 9144338"/>
              <a:gd name="connsiteY3" fmla="*/ 119350 h 957550"/>
              <a:gd name="connsiteX4" fmla="*/ 1371938 w 9144338"/>
              <a:gd name="connsiteY4" fmla="*/ 119350 h 957550"/>
              <a:gd name="connsiteX5" fmla="*/ 0 w 9144338"/>
              <a:gd name="connsiteY5" fmla="*/ 10177 h 957550"/>
              <a:gd name="connsiteX6" fmla="*/ 676 w 9144338"/>
              <a:gd name="connsiteY6" fmla="*/ 937198 h 957550"/>
              <a:gd name="connsiteX0" fmla="*/ 338 w 9144000"/>
              <a:gd name="connsiteY0" fmla="*/ 957544 h 977896"/>
              <a:gd name="connsiteX1" fmla="*/ 8991600 w 9144000"/>
              <a:gd name="connsiteY1" fmla="*/ 977896 h 977896"/>
              <a:gd name="connsiteX2" fmla="*/ 9144000 w 9144000"/>
              <a:gd name="connsiteY2" fmla="*/ 977896 h 977896"/>
              <a:gd name="connsiteX3" fmla="*/ 9144000 w 9144000"/>
              <a:gd name="connsiteY3" fmla="*/ 139696 h 977896"/>
              <a:gd name="connsiteX4" fmla="*/ 1371600 w 9144000"/>
              <a:gd name="connsiteY4" fmla="*/ 139696 h 977896"/>
              <a:gd name="connsiteX5" fmla="*/ 0 w 9144000"/>
              <a:gd name="connsiteY5" fmla="*/ 10176 h 977896"/>
              <a:gd name="connsiteX6" fmla="*/ 338 w 9144000"/>
              <a:gd name="connsiteY6" fmla="*/ 957544 h 977896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5" fmla="*/ 1463040 w 9144000"/>
              <a:gd name="connsiteY5" fmla="*/ 297159 h 967719"/>
              <a:gd name="connsiteX0" fmla="*/ 0 w 9144000"/>
              <a:gd name="connsiteY0" fmla="*/ 1 h 967721"/>
              <a:gd name="connsiteX1" fmla="*/ 338 w 9144000"/>
              <a:gd name="connsiteY1" fmla="*/ 947369 h 967721"/>
              <a:gd name="connsiteX2" fmla="*/ 8991600 w 9144000"/>
              <a:gd name="connsiteY2" fmla="*/ 967721 h 967721"/>
              <a:gd name="connsiteX3" fmla="*/ 9144000 w 9144000"/>
              <a:gd name="connsiteY3" fmla="*/ 967721 h 967721"/>
              <a:gd name="connsiteX4" fmla="*/ 9144000 w 9144000"/>
              <a:gd name="connsiteY4" fmla="*/ 129521 h 967721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0" fmla="*/ 0 w 9144000"/>
              <a:gd name="connsiteY0" fmla="*/ 20360 h 988080"/>
              <a:gd name="connsiteX1" fmla="*/ 338 w 9144000"/>
              <a:gd name="connsiteY1" fmla="*/ 967728 h 988080"/>
              <a:gd name="connsiteX2" fmla="*/ 8991600 w 9144000"/>
              <a:gd name="connsiteY2" fmla="*/ 988080 h 988080"/>
              <a:gd name="connsiteX3" fmla="*/ 9144000 w 9144000"/>
              <a:gd name="connsiteY3" fmla="*/ 988080 h 988080"/>
              <a:gd name="connsiteX4" fmla="*/ 9144000 w 9144000"/>
              <a:gd name="connsiteY4" fmla="*/ 0 h 98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988080">
                <a:moveTo>
                  <a:pt x="0" y="20360"/>
                </a:moveTo>
                <a:cubicBezTo>
                  <a:pt x="225" y="329367"/>
                  <a:pt x="113" y="658721"/>
                  <a:pt x="338" y="967728"/>
                </a:cubicBezTo>
                <a:lnTo>
                  <a:pt x="8991600" y="988080"/>
                </a:lnTo>
                <a:lnTo>
                  <a:pt x="9144000" y="988080"/>
                </a:lnTo>
                <a:lnTo>
                  <a:pt x="9144000" y="0"/>
                </a:lnTo>
              </a:path>
            </a:pathLst>
          </a:custGeom>
          <a:gradFill flip="none" rotWithShape="1">
            <a:gsLst>
              <a:gs pos="0">
                <a:srgbClr val="104A9A"/>
              </a:gs>
              <a:gs pos="100000">
                <a:srgbClr val="2DA34B"/>
              </a:gs>
              <a:gs pos="50000">
                <a:srgbClr val="1BADE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5" name="Rectangle 4"/>
          <p:cNvSpPr/>
          <p:nvPr/>
        </p:nvSpPr>
        <p:spPr>
          <a:xfrm>
            <a:off x="0" y="762000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7" name="Freeform 6"/>
          <p:cNvSpPr/>
          <p:nvPr/>
        </p:nvSpPr>
        <p:spPr>
          <a:xfrm rot="10800000">
            <a:off x="812800" y="4452938"/>
            <a:ext cx="11379200" cy="119062"/>
          </a:xfrm>
          <a:custGeom>
            <a:avLst/>
            <a:gdLst>
              <a:gd name="connsiteX0" fmla="*/ 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0 w 7620000"/>
              <a:gd name="connsiteY4" fmla="*/ 0 h 838200"/>
              <a:gd name="connsiteX0" fmla="*/ 30480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304800 w 7620000"/>
              <a:gd name="connsiteY4" fmla="*/ 0 h 838200"/>
              <a:gd name="connsiteX0" fmla="*/ 304800 w 7620000"/>
              <a:gd name="connsiteY0" fmla="*/ 838200 h 1676400"/>
              <a:gd name="connsiteX1" fmla="*/ 7620000 w 7620000"/>
              <a:gd name="connsiteY1" fmla="*/ 838200 h 1676400"/>
              <a:gd name="connsiteX2" fmla="*/ 7620000 w 7620000"/>
              <a:gd name="connsiteY2" fmla="*/ 1676400 h 1676400"/>
              <a:gd name="connsiteX3" fmla="*/ 0 w 7620000"/>
              <a:gd name="connsiteY3" fmla="*/ 0 h 1676400"/>
              <a:gd name="connsiteX4" fmla="*/ 304800 w 7620000"/>
              <a:gd name="connsiteY4" fmla="*/ 838200 h 1676400"/>
              <a:gd name="connsiteX0" fmla="*/ 304800 w 7620000"/>
              <a:gd name="connsiteY0" fmla="*/ 838200 h 838200"/>
              <a:gd name="connsiteX1" fmla="*/ 7620000 w 7620000"/>
              <a:gd name="connsiteY1" fmla="*/ 838200 h 838200"/>
              <a:gd name="connsiteX2" fmla="*/ 7620000 w 7620000"/>
              <a:gd name="connsiteY2" fmla="*/ 0 h 838200"/>
              <a:gd name="connsiteX3" fmla="*/ 0 w 7620000"/>
              <a:gd name="connsiteY3" fmla="*/ 0 h 838200"/>
              <a:gd name="connsiteX4" fmla="*/ 304800 w 76200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0 h 838200"/>
              <a:gd name="connsiteX3" fmla="*/ 0 w 7772400"/>
              <a:gd name="connsiteY3" fmla="*/ 0 h 838200"/>
              <a:gd name="connsiteX4" fmla="*/ 304800 w 77724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838200 h 838200"/>
              <a:gd name="connsiteX3" fmla="*/ 7772400 w 7772400"/>
              <a:gd name="connsiteY3" fmla="*/ 0 h 838200"/>
              <a:gd name="connsiteX4" fmla="*/ 0 w 7772400"/>
              <a:gd name="connsiteY4" fmla="*/ 0 h 838200"/>
              <a:gd name="connsiteX5" fmla="*/ 304800 w 7772400"/>
              <a:gd name="connsiteY5" fmla="*/ 838200 h 838200"/>
              <a:gd name="connsiteX0" fmla="*/ 1676738 w 9144338"/>
              <a:gd name="connsiteY0" fmla="*/ 957548 h 957548"/>
              <a:gd name="connsiteX1" fmla="*/ 8991938 w 9144338"/>
              <a:gd name="connsiteY1" fmla="*/ 957548 h 957548"/>
              <a:gd name="connsiteX2" fmla="*/ 9144338 w 9144338"/>
              <a:gd name="connsiteY2" fmla="*/ 957548 h 957548"/>
              <a:gd name="connsiteX3" fmla="*/ 9144338 w 9144338"/>
              <a:gd name="connsiteY3" fmla="*/ 119348 h 957548"/>
              <a:gd name="connsiteX4" fmla="*/ 1371938 w 9144338"/>
              <a:gd name="connsiteY4" fmla="*/ 119348 h 957548"/>
              <a:gd name="connsiteX5" fmla="*/ 0 w 9144338"/>
              <a:gd name="connsiteY5" fmla="*/ 10175 h 957548"/>
              <a:gd name="connsiteX6" fmla="*/ 1676738 w 9144338"/>
              <a:gd name="connsiteY6" fmla="*/ 957548 h 957548"/>
              <a:gd name="connsiteX0" fmla="*/ 676 w 9144338"/>
              <a:gd name="connsiteY0" fmla="*/ 937198 h 957550"/>
              <a:gd name="connsiteX1" fmla="*/ 8991938 w 9144338"/>
              <a:gd name="connsiteY1" fmla="*/ 957550 h 957550"/>
              <a:gd name="connsiteX2" fmla="*/ 9144338 w 9144338"/>
              <a:gd name="connsiteY2" fmla="*/ 957550 h 957550"/>
              <a:gd name="connsiteX3" fmla="*/ 9144338 w 9144338"/>
              <a:gd name="connsiteY3" fmla="*/ 119350 h 957550"/>
              <a:gd name="connsiteX4" fmla="*/ 1371938 w 9144338"/>
              <a:gd name="connsiteY4" fmla="*/ 119350 h 957550"/>
              <a:gd name="connsiteX5" fmla="*/ 0 w 9144338"/>
              <a:gd name="connsiteY5" fmla="*/ 10177 h 957550"/>
              <a:gd name="connsiteX6" fmla="*/ 676 w 9144338"/>
              <a:gd name="connsiteY6" fmla="*/ 937198 h 957550"/>
              <a:gd name="connsiteX0" fmla="*/ 338 w 9144000"/>
              <a:gd name="connsiteY0" fmla="*/ 957544 h 977896"/>
              <a:gd name="connsiteX1" fmla="*/ 8991600 w 9144000"/>
              <a:gd name="connsiteY1" fmla="*/ 977896 h 977896"/>
              <a:gd name="connsiteX2" fmla="*/ 9144000 w 9144000"/>
              <a:gd name="connsiteY2" fmla="*/ 977896 h 977896"/>
              <a:gd name="connsiteX3" fmla="*/ 9144000 w 9144000"/>
              <a:gd name="connsiteY3" fmla="*/ 139696 h 977896"/>
              <a:gd name="connsiteX4" fmla="*/ 1371600 w 9144000"/>
              <a:gd name="connsiteY4" fmla="*/ 139696 h 977896"/>
              <a:gd name="connsiteX5" fmla="*/ 0 w 9144000"/>
              <a:gd name="connsiteY5" fmla="*/ 10176 h 977896"/>
              <a:gd name="connsiteX6" fmla="*/ 338 w 9144000"/>
              <a:gd name="connsiteY6" fmla="*/ 957544 h 977896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5" fmla="*/ 1463040 w 9144000"/>
              <a:gd name="connsiteY5" fmla="*/ 297159 h 967719"/>
              <a:gd name="connsiteX0" fmla="*/ 0 w 9144000"/>
              <a:gd name="connsiteY0" fmla="*/ 1 h 967721"/>
              <a:gd name="connsiteX1" fmla="*/ 338 w 9144000"/>
              <a:gd name="connsiteY1" fmla="*/ 947369 h 967721"/>
              <a:gd name="connsiteX2" fmla="*/ 8991600 w 9144000"/>
              <a:gd name="connsiteY2" fmla="*/ 967721 h 967721"/>
              <a:gd name="connsiteX3" fmla="*/ 9144000 w 9144000"/>
              <a:gd name="connsiteY3" fmla="*/ 967721 h 967721"/>
              <a:gd name="connsiteX4" fmla="*/ 9144000 w 9144000"/>
              <a:gd name="connsiteY4" fmla="*/ 129521 h 967721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0" fmla="*/ 0 w 9144000"/>
              <a:gd name="connsiteY0" fmla="*/ 20360 h 988080"/>
              <a:gd name="connsiteX1" fmla="*/ 338 w 9144000"/>
              <a:gd name="connsiteY1" fmla="*/ 967728 h 988080"/>
              <a:gd name="connsiteX2" fmla="*/ 8991600 w 9144000"/>
              <a:gd name="connsiteY2" fmla="*/ 988080 h 988080"/>
              <a:gd name="connsiteX3" fmla="*/ 9144000 w 9144000"/>
              <a:gd name="connsiteY3" fmla="*/ 988080 h 988080"/>
              <a:gd name="connsiteX4" fmla="*/ 9144000 w 9144000"/>
              <a:gd name="connsiteY4" fmla="*/ 0 h 98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988080">
                <a:moveTo>
                  <a:pt x="0" y="20360"/>
                </a:moveTo>
                <a:cubicBezTo>
                  <a:pt x="225" y="329367"/>
                  <a:pt x="113" y="658721"/>
                  <a:pt x="338" y="967728"/>
                </a:cubicBezTo>
                <a:lnTo>
                  <a:pt x="8991600" y="988080"/>
                </a:lnTo>
                <a:lnTo>
                  <a:pt x="9144000" y="988080"/>
                </a:lnTo>
                <a:lnTo>
                  <a:pt x="9144000" y="0"/>
                </a:lnTo>
              </a:path>
            </a:pathLst>
          </a:custGeom>
          <a:gradFill flip="none" rotWithShape="1">
            <a:gsLst>
              <a:gs pos="0">
                <a:srgbClr val="104A9A"/>
              </a:gs>
              <a:gs pos="100000">
                <a:srgbClr val="2DA34B"/>
              </a:gs>
              <a:gs pos="50000">
                <a:srgbClr val="1BADE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8" name="Rectangle 7"/>
          <p:cNvSpPr/>
          <p:nvPr/>
        </p:nvSpPr>
        <p:spPr>
          <a:xfrm>
            <a:off x="0" y="762000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3429000"/>
            <a:ext cx="11480800" cy="914400"/>
          </a:xfrm>
        </p:spPr>
        <p:txBody>
          <a:bodyPr anchor="b"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711200" y="4648200"/>
            <a:ext cx="8636000" cy="13716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Freeform 8"/>
          <p:cNvSpPr/>
          <p:nvPr/>
        </p:nvSpPr>
        <p:spPr>
          <a:xfrm rot="10800000">
            <a:off x="812800" y="4452938"/>
            <a:ext cx="11379200" cy="119062"/>
          </a:xfrm>
          <a:custGeom>
            <a:avLst/>
            <a:gdLst>
              <a:gd name="connsiteX0" fmla="*/ 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0 w 7620000"/>
              <a:gd name="connsiteY4" fmla="*/ 0 h 838200"/>
              <a:gd name="connsiteX0" fmla="*/ 30480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304800 w 7620000"/>
              <a:gd name="connsiteY4" fmla="*/ 0 h 838200"/>
              <a:gd name="connsiteX0" fmla="*/ 304800 w 7620000"/>
              <a:gd name="connsiteY0" fmla="*/ 838200 h 1676400"/>
              <a:gd name="connsiteX1" fmla="*/ 7620000 w 7620000"/>
              <a:gd name="connsiteY1" fmla="*/ 838200 h 1676400"/>
              <a:gd name="connsiteX2" fmla="*/ 7620000 w 7620000"/>
              <a:gd name="connsiteY2" fmla="*/ 1676400 h 1676400"/>
              <a:gd name="connsiteX3" fmla="*/ 0 w 7620000"/>
              <a:gd name="connsiteY3" fmla="*/ 0 h 1676400"/>
              <a:gd name="connsiteX4" fmla="*/ 304800 w 7620000"/>
              <a:gd name="connsiteY4" fmla="*/ 838200 h 1676400"/>
              <a:gd name="connsiteX0" fmla="*/ 304800 w 7620000"/>
              <a:gd name="connsiteY0" fmla="*/ 838200 h 838200"/>
              <a:gd name="connsiteX1" fmla="*/ 7620000 w 7620000"/>
              <a:gd name="connsiteY1" fmla="*/ 838200 h 838200"/>
              <a:gd name="connsiteX2" fmla="*/ 7620000 w 7620000"/>
              <a:gd name="connsiteY2" fmla="*/ 0 h 838200"/>
              <a:gd name="connsiteX3" fmla="*/ 0 w 7620000"/>
              <a:gd name="connsiteY3" fmla="*/ 0 h 838200"/>
              <a:gd name="connsiteX4" fmla="*/ 304800 w 76200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0 h 838200"/>
              <a:gd name="connsiteX3" fmla="*/ 0 w 7772400"/>
              <a:gd name="connsiteY3" fmla="*/ 0 h 838200"/>
              <a:gd name="connsiteX4" fmla="*/ 304800 w 77724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838200 h 838200"/>
              <a:gd name="connsiteX3" fmla="*/ 7772400 w 7772400"/>
              <a:gd name="connsiteY3" fmla="*/ 0 h 838200"/>
              <a:gd name="connsiteX4" fmla="*/ 0 w 7772400"/>
              <a:gd name="connsiteY4" fmla="*/ 0 h 838200"/>
              <a:gd name="connsiteX5" fmla="*/ 304800 w 7772400"/>
              <a:gd name="connsiteY5" fmla="*/ 838200 h 838200"/>
              <a:gd name="connsiteX0" fmla="*/ 1676738 w 9144338"/>
              <a:gd name="connsiteY0" fmla="*/ 957548 h 957548"/>
              <a:gd name="connsiteX1" fmla="*/ 8991938 w 9144338"/>
              <a:gd name="connsiteY1" fmla="*/ 957548 h 957548"/>
              <a:gd name="connsiteX2" fmla="*/ 9144338 w 9144338"/>
              <a:gd name="connsiteY2" fmla="*/ 957548 h 957548"/>
              <a:gd name="connsiteX3" fmla="*/ 9144338 w 9144338"/>
              <a:gd name="connsiteY3" fmla="*/ 119348 h 957548"/>
              <a:gd name="connsiteX4" fmla="*/ 1371938 w 9144338"/>
              <a:gd name="connsiteY4" fmla="*/ 119348 h 957548"/>
              <a:gd name="connsiteX5" fmla="*/ 0 w 9144338"/>
              <a:gd name="connsiteY5" fmla="*/ 10175 h 957548"/>
              <a:gd name="connsiteX6" fmla="*/ 1676738 w 9144338"/>
              <a:gd name="connsiteY6" fmla="*/ 957548 h 957548"/>
              <a:gd name="connsiteX0" fmla="*/ 676 w 9144338"/>
              <a:gd name="connsiteY0" fmla="*/ 937198 h 957550"/>
              <a:gd name="connsiteX1" fmla="*/ 8991938 w 9144338"/>
              <a:gd name="connsiteY1" fmla="*/ 957550 h 957550"/>
              <a:gd name="connsiteX2" fmla="*/ 9144338 w 9144338"/>
              <a:gd name="connsiteY2" fmla="*/ 957550 h 957550"/>
              <a:gd name="connsiteX3" fmla="*/ 9144338 w 9144338"/>
              <a:gd name="connsiteY3" fmla="*/ 119350 h 957550"/>
              <a:gd name="connsiteX4" fmla="*/ 1371938 w 9144338"/>
              <a:gd name="connsiteY4" fmla="*/ 119350 h 957550"/>
              <a:gd name="connsiteX5" fmla="*/ 0 w 9144338"/>
              <a:gd name="connsiteY5" fmla="*/ 10177 h 957550"/>
              <a:gd name="connsiteX6" fmla="*/ 676 w 9144338"/>
              <a:gd name="connsiteY6" fmla="*/ 937198 h 957550"/>
              <a:gd name="connsiteX0" fmla="*/ 338 w 9144000"/>
              <a:gd name="connsiteY0" fmla="*/ 957544 h 977896"/>
              <a:gd name="connsiteX1" fmla="*/ 8991600 w 9144000"/>
              <a:gd name="connsiteY1" fmla="*/ 977896 h 977896"/>
              <a:gd name="connsiteX2" fmla="*/ 9144000 w 9144000"/>
              <a:gd name="connsiteY2" fmla="*/ 977896 h 977896"/>
              <a:gd name="connsiteX3" fmla="*/ 9144000 w 9144000"/>
              <a:gd name="connsiteY3" fmla="*/ 139696 h 977896"/>
              <a:gd name="connsiteX4" fmla="*/ 1371600 w 9144000"/>
              <a:gd name="connsiteY4" fmla="*/ 139696 h 977896"/>
              <a:gd name="connsiteX5" fmla="*/ 0 w 9144000"/>
              <a:gd name="connsiteY5" fmla="*/ 10176 h 977896"/>
              <a:gd name="connsiteX6" fmla="*/ 338 w 9144000"/>
              <a:gd name="connsiteY6" fmla="*/ 957544 h 977896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5" fmla="*/ 1463040 w 9144000"/>
              <a:gd name="connsiteY5" fmla="*/ 297159 h 967719"/>
              <a:gd name="connsiteX0" fmla="*/ 0 w 9144000"/>
              <a:gd name="connsiteY0" fmla="*/ 1 h 967721"/>
              <a:gd name="connsiteX1" fmla="*/ 338 w 9144000"/>
              <a:gd name="connsiteY1" fmla="*/ 947369 h 967721"/>
              <a:gd name="connsiteX2" fmla="*/ 8991600 w 9144000"/>
              <a:gd name="connsiteY2" fmla="*/ 967721 h 967721"/>
              <a:gd name="connsiteX3" fmla="*/ 9144000 w 9144000"/>
              <a:gd name="connsiteY3" fmla="*/ 967721 h 967721"/>
              <a:gd name="connsiteX4" fmla="*/ 9144000 w 9144000"/>
              <a:gd name="connsiteY4" fmla="*/ 129521 h 967721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0" fmla="*/ 0 w 9144000"/>
              <a:gd name="connsiteY0" fmla="*/ 20360 h 988080"/>
              <a:gd name="connsiteX1" fmla="*/ 338 w 9144000"/>
              <a:gd name="connsiteY1" fmla="*/ 967728 h 988080"/>
              <a:gd name="connsiteX2" fmla="*/ 8991600 w 9144000"/>
              <a:gd name="connsiteY2" fmla="*/ 988080 h 988080"/>
              <a:gd name="connsiteX3" fmla="*/ 9144000 w 9144000"/>
              <a:gd name="connsiteY3" fmla="*/ 988080 h 988080"/>
              <a:gd name="connsiteX4" fmla="*/ 9144000 w 9144000"/>
              <a:gd name="connsiteY4" fmla="*/ 0 h 98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988080">
                <a:moveTo>
                  <a:pt x="0" y="20360"/>
                </a:moveTo>
                <a:cubicBezTo>
                  <a:pt x="225" y="329367"/>
                  <a:pt x="113" y="658721"/>
                  <a:pt x="338" y="967728"/>
                </a:cubicBezTo>
                <a:lnTo>
                  <a:pt x="8991600" y="988080"/>
                </a:lnTo>
                <a:lnTo>
                  <a:pt x="9144000" y="988080"/>
                </a:lnTo>
                <a:lnTo>
                  <a:pt x="9144000" y="0"/>
                </a:lnTo>
              </a:path>
            </a:pathLst>
          </a:custGeom>
          <a:gradFill flip="none" rotWithShape="1">
            <a:gsLst>
              <a:gs pos="0">
                <a:srgbClr val="104A9A"/>
              </a:gs>
              <a:gs pos="100000">
                <a:srgbClr val="2DA34B"/>
              </a:gs>
              <a:gs pos="50000">
                <a:srgbClr val="1BADE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10" name="Rectangle 9"/>
          <p:cNvSpPr/>
          <p:nvPr/>
        </p:nvSpPr>
        <p:spPr>
          <a:xfrm>
            <a:off x="0" y="762000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11" name="Freeform 10"/>
          <p:cNvSpPr/>
          <p:nvPr/>
        </p:nvSpPr>
        <p:spPr>
          <a:xfrm rot="10800000">
            <a:off x="812800" y="4452938"/>
            <a:ext cx="11379200" cy="119062"/>
          </a:xfrm>
          <a:custGeom>
            <a:avLst/>
            <a:gdLst>
              <a:gd name="connsiteX0" fmla="*/ 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0 w 7620000"/>
              <a:gd name="connsiteY4" fmla="*/ 0 h 838200"/>
              <a:gd name="connsiteX0" fmla="*/ 30480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304800 w 7620000"/>
              <a:gd name="connsiteY4" fmla="*/ 0 h 838200"/>
              <a:gd name="connsiteX0" fmla="*/ 304800 w 7620000"/>
              <a:gd name="connsiteY0" fmla="*/ 838200 h 1676400"/>
              <a:gd name="connsiteX1" fmla="*/ 7620000 w 7620000"/>
              <a:gd name="connsiteY1" fmla="*/ 838200 h 1676400"/>
              <a:gd name="connsiteX2" fmla="*/ 7620000 w 7620000"/>
              <a:gd name="connsiteY2" fmla="*/ 1676400 h 1676400"/>
              <a:gd name="connsiteX3" fmla="*/ 0 w 7620000"/>
              <a:gd name="connsiteY3" fmla="*/ 0 h 1676400"/>
              <a:gd name="connsiteX4" fmla="*/ 304800 w 7620000"/>
              <a:gd name="connsiteY4" fmla="*/ 838200 h 1676400"/>
              <a:gd name="connsiteX0" fmla="*/ 304800 w 7620000"/>
              <a:gd name="connsiteY0" fmla="*/ 838200 h 838200"/>
              <a:gd name="connsiteX1" fmla="*/ 7620000 w 7620000"/>
              <a:gd name="connsiteY1" fmla="*/ 838200 h 838200"/>
              <a:gd name="connsiteX2" fmla="*/ 7620000 w 7620000"/>
              <a:gd name="connsiteY2" fmla="*/ 0 h 838200"/>
              <a:gd name="connsiteX3" fmla="*/ 0 w 7620000"/>
              <a:gd name="connsiteY3" fmla="*/ 0 h 838200"/>
              <a:gd name="connsiteX4" fmla="*/ 304800 w 76200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0 h 838200"/>
              <a:gd name="connsiteX3" fmla="*/ 0 w 7772400"/>
              <a:gd name="connsiteY3" fmla="*/ 0 h 838200"/>
              <a:gd name="connsiteX4" fmla="*/ 304800 w 77724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838200 h 838200"/>
              <a:gd name="connsiteX3" fmla="*/ 7772400 w 7772400"/>
              <a:gd name="connsiteY3" fmla="*/ 0 h 838200"/>
              <a:gd name="connsiteX4" fmla="*/ 0 w 7772400"/>
              <a:gd name="connsiteY4" fmla="*/ 0 h 838200"/>
              <a:gd name="connsiteX5" fmla="*/ 304800 w 7772400"/>
              <a:gd name="connsiteY5" fmla="*/ 838200 h 838200"/>
              <a:gd name="connsiteX0" fmla="*/ 1676738 w 9144338"/>
              <a:gd name="connsiteY0" fmla="*/ 957548 h 957548"/>
              <a:gd name="connsiteX1" fmla="*/ 8991938 w 9144338"/>
              <a:gd name="connsiteY1" fmla="*/ 957548 h 957548"/>
              <a:gd name="connsiteX2" fmla="*/ 9144338 w 9144338"/>
              <a:gd name="connsiteY2" fmla="*/ 957548 h 957548"/>
              <a:gd name="connsiteX3" fmla="*/ 9144338 w 9144338"/>
              <a:gd name="connsiteY3" fmla="*/ 119348 h 957548"/>
              <a:gd name="connsiteX4" fmla="*/ 1371938 w 9144338"/>
              <a:gd name="connsiteY4" fmla="*/ 119348 h 957548"/>
              <a:gd name="connsiteX5" fmla="*/ 0 w 9144338"/>
              <a:gd name="connsiteY5" fmla="*/ 10175 h 957548"/>
              <a:gd name="connsiteX6" fmla="*/ 1676738 w 9144338"/>
              <a:gd name="connsiteY6" fmla="*/ 957548 h 957548"/>
              <a:gd name="connsiteX0" fmla="*/ 676 w 9144338"/>
              <a:gd name="connsiteY0" fmla="*/ 937198 h 957550"/>
              <a:gd name="connsiteX1" fmla="*/ 8991938 w 9144338"/>
              <a:gd name="connsiteY1" fmla="*/ 957550 h 957550"/>
              <a:gd name="connsiteX2" fmla="*/ 9144338 w 9144338"/>
              <a:gd name="connsiteY2" fmla="*/ 957550 h 957550"/>
              <a:gd name="connsiteX3" fmla="*/ 9144338 w 9144338"/>
              <a:gd name="connsiteY3" fmla="*/ 119350 h 957550"/>
              <a:gd name="connsiteX4" fmla="*/ 1371938 w 9144338"/>
              <a:gd name="connsiteY4" fmla="*/ 119350 h 957550"/>
              <a:gd name="connsiteX5" fmla="*/ 0 w 9144338"/>
              <a:gd name="connsiteY5" fmla="*/ 10177 h 957550"/>
              <a:gd name="connsiteX6" fmla="*/ 676 w 9144338"/>
              <a:gd name="connsiteY6" fmla="*/ 937198 h 957550"/>
              <a:gd name="connsiteX0" fmla="*/ 338 w 9144000"/>
              <a:gd name="connsiteY0" fmla="*/ 957544 h 977896"/>
              <a:gd name="connsiteX1" fmla="*/ 8991600 w 9144000"/>
              <a:gd name="connsiteY1" fmla="*/ 977896 h 977896"/>
              <a:gd name="connsiteX2" fmla="*/ 9144000 w 9144000"/>
              <a:gd name="connsiteY2" fmla="*/ 977896 h 977896"/>
              <a:gd name="connsiteX3" fmla="*/ 9144000 w 9144000"/>
              <a:gd name="connsiteY3" fmla="*/ 139696 h 977896"/>
              <a:gd name="connsiteX4" fmla="*/ 1371600 w 9144000"/>
              <a:gd name="connsiteY4" fmla="*/ 139696 h 977896"/>
              <a:gd name="connsiteX5" fmla="*/ 0 w 9144000"/>
              <a:gd name="connsiteY5" fmla="*/ 10176 h 977896"/>
              <a:gd name="connsiteX6" fmla="*/ 338 w 9144000"/>
              <a:gd name="connsiteY6" fmla="*/ 957544 h 977896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5" fmla="*/ 1463040 w 9144000"/>
              <a:gd name="connsiteY5" fmla="*/ 297159 h 967719"/>
              <a:gd name="connsiteX0" fmla="*/ 0 w 9144000"/>
              <a:gd name="connsiteY0" fmla="*/ 1 h 967721"/>
              <a:gd name="connsiteX1" fmla="*/ 338 w 9144000"/>
              <a:gd name="connsiteY1" fmla="*/ 947369 h 967721"/>
              <a:gd name="connsiteX2" fmla="*/ 8991600 w 9144000"/>
              <a:gd name="connsiteY2" fmla="*/ 967721 h 967721"/>
              <a:gd name="connsiteX3" fmla="*/ 9144000 w 9144000"/>
              <a:gd name="connsiteY3" fmla="*/ 967721 h 967721"/>
              <a:gd name="connsiteX4" fmla="*/ 9144000 w 9144000"/>
              <a:gd name="connsiteY4" fmla="*/ 129521 h 967721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0" fmla="*/ 0 w 9144000"/>
              <a:gd name="connsiteY0" fmla="*/ 20360 h 988080"/>
              <a:gd name="connsiteX1" fmla="*/ 338 w 9144000"/>
              <a:gd name="connsiteY1" fmla="*/ 967728 h 988080"/>
              <a:gd name="connsiteX2" fmla="*/ 8991600 w 9144000"/>
              <a:gd name="connsiteY2" fmla="*/ 988080 h 988080"/>
              <a:gd name="connsiteX3" fmla="*/ 9144000 w 9144000"/>
              <a:gd name="connsiteY3" fmla="*/ 988080 h 988080"/>
              <a:gd name="connsiteX4" fmla="*/ 9144000 w 9144000"/>
              <a:gd name="connsiteY4" fmla="*/ 0 h 98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988080">
                <a:moveTo>
                  <a:pt x="0" y="20360"/>
                </a:moveTo>
                <a:cubicBezTo>
                  <a:pt x="225" y="329367"/>
                  <a:pt x="113" y="658721"/>
                  <a:pt x="338" y="967728"/>
                </a:cubicBezTo>
                <a:lnTo>
                  <a:pt x="8991600" y="988080"/>
                </a:lnTo>
                <a:lnTo>
                  <a:pt x="9144000" y="988080"/>
                </a:lnTo>
                <a:lnTo>
                  <a:pt x="9144000" y="0"/>
                </a:lnTo>
              </a:path>
            </a:pathLst>
          </a:custGeom>
          <a:gradFill flip="none" rotWithShape="1">
            <a:gsLst>
              <a:gs pos="0">
                <a:srgbClr val="104A9A"/>
              </a:gs>
              <a:gs pos="100000">
                <a:srgbClr val="2DA34B"/>
              </a:gs>
              <a:gs pos="50000">
                <a:srgbClr val="1BADE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12" name="Rectangle 11"/>
          <p:cNvSpPr/>
          <p:nvPr/>
        </p:nvSpPr>
        <p:spPr>
          <a:xfrm>
            <a:off x="0" y="762000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13" name="Freeform 12"/>
          <p:cNvSpPr/>
          <p:nvPr userDrawn="1"/>
        </p:nvSpPr>
        <p:spPr>
          <a:xfrm rot="10800000">
            <a:off x="812800" y="4452938"/>
            <a:ext cx="11379200" cy="119062"/>
          </a:xfrm>
          <a:custGeom>
            <a:avLst/>
            <a:gdLst>
              <a:gd name="connsiteX0" fmla="*/ 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0 w 7620000"/>
              <a:gd name="connsiteY4" fmla="*/ 0 h 838200"/>
              <a:gd name="connsiteX0" fmla="*/ 30480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304800 w 7620000"/>
              <a:gd name="connsiteY4" fmla="*/ 0 h 838200"/>
              <a:gd name="connsiteX0" fmla="*/ 304800 w 7620000"/>
              <a:gd name="connsiteY0" fmla="*/ 838200 h 1676400"/>
              <a:gd name="connsiteX1" fmla="*/ 7620000 w 7620000"/>
              <a:gd name="connsiteY1" fmla="*/ 838200 h 1676400"/>
              <a:gd name="connsiteX2" fmla="*/ 7620000 w 7620000"/>
              <a:gd name="connsiteY2" fmla="*/ 1676400 h 1676400"/>
              <a:gd name="connsiteX3" fmla="*/ 0 w 7620000"/>
              <a:gd name="connsiteY3" fmla="*/ 0 h 1676400"/>
              <a:gd name="connsiteX4" fmla="*/ 304800 w 7620000"/>
              <a:gd name="connsiteY4" fmla="*/ 838200 h 1676400"/>
              <a:gd name="connsiteX0" fmla="*/ 304800 w 7620000"/>
              <a:gd name="connsiteY0" fmla="*/ 838200 h 838200"/>
              <a:gd name="connsiteX1" fmla="*/ 7620000 w 7620000"/>
              <a:gd name="connsiteY1" fmla="*/ 838200 h 838200"/>
              <a:gd name="connsiteX2" fmla="*/ 7620000 w 7620000"/>
              <a:gd name="connsiteY2" fmla="*/ 0 h 838200"/>
              <a:gd name="connsiteX3" fmla="*/ 0 w 7620000"/>
              <a:gd name="connsiteY3" fmla="*/ 0 h 838200"/>
              <a:gd name="connsiteX4" fmla="*/ 304800 w 76200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0 h 838200"/>
              <a:gd name="connsiteX3" fmla="*/ 0 w 7772400"/>
              <a:gd name="connsiteY3" fmla="*/ 0 h 838200"/>
              <a:gd name="connsiteX4" fmla="*/ 304800 w 77724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838200 h 838200"/>
              <a:gd name="connsiteX3" fmla="*/ 7772400 w 7772400"/>
              <a:gd name="connsiteY3" fmla="*/ 0 h 838200"/>
              <a:gd name="connsiteX4" fmla="*/ 0 w 7772400"/>
              <a:gd name="connsiteY4" fmla="*/ 0 h 838200"/>
              <a:gd name="connsiteX5" fmla="*/ 304800 w 7772400"/>
              <a:gd name="connsiteY5" fmla="*/ 838200 h 838200"/>
              <a:gd name="connsiteX0" fmla="*/ 1676738 w 9144338"/>
              <a:gd name="connsiteY0" fmla="*/ 957548 h 957548"/>
              <a:gd name="connsiteX1" fmla="*/ 8991938 w 9144338"/>
              <a:gd name="connsiteY1" fmla="*/ 957548 h 957548"/>
              <a:gd name="connsiteX2" fmla="*/ 9144338 w 9144338"/>
              <a:gd name="connsiteY2" fmla="*/ 957548 h 957548"/>
              <a:gd name="connsiteX3" fmla="*/ 9144338 w 9144338"/>
              <a:gd name="connsiteY3" fmla="*/ 119348 h 957548"/>
              <a:gd name="connsiteX4" fmla="*/ 1371938 w 9144338"/>
              <a:gd name="connsiteY4" fmla="*/ 119348 h 957548"/>
              <a:gd name="connsiteX5" fmla="*/ 0 w 9144338"/>
              <a:gd name="connsiteY5" fmla="*/ 10175 h 957548"/>
              <a:gd name="connsiteX6" fmla="*/ 1676738 w 9144338"/>
              <a:gd name="connsiteY6" fmla="*/ 957548 h 957548"/>
              <a:gd name="connsiteX0" fmla="*/ 676 w 9144338"/>
              <a:gd name="connsiteY0" fmla="*/ 937198 h 957550"/>
              <a:gd name="connsiteX1" fmla="*/ 8991938 w 9144338"/>
              <a:gd name="connsiteY1" fmla="*/ 957550 h 957550"/>
              <a:gd name="connsiteX2" fmla="*/ 9144338 w 9144338"/>
              <a:gd name="connsiteY2" fmla="*/ 957550 h 957550"/>
              <a:gd name="connsiteX3" fmla="*/ 9144338 w 9144338"/>
              <a:gd name="connsiteY3" fmla="*/ 119350 h 957550"/>
              <a:gd name="connsiteX4" fmla="*/ 1371938 w 9144338"/>
              <a:gd name="connsiteY4" fmla="*/ 119350 h 957550"/>
              <a:gd name="connsiteX5" fmla="*/ 0 w 9144338"/>
              <a:gd name="connsiteY5" fmla="*/ 10177 h 957550"/>
              <a:gd name="connsiteX6" fmla="*/ 676 w 9144338"/>
              <a:gd name="connsiteY6" fmla="*/ 937198 h 957550"/>
              <a:gd name="connsiteX0" fmla="*/ 338 w 9144000"/>
              <a:gd name="connsiteY0" fmla="*/ 957544 h 977896"/>
              <a:gd name="connsiteX1" fmla="*/ 8991600 w 9144000"/>
              <a:gd name="connsiteY1" fmla="*/ 977896 h 977896"/>
              <a:gd name="connsiteX2" fmla="*/ 9144000 w 9144000"/>
              <a:gd name="connsiteY2" fmla="*/ 977896 h 977896"/>
              <a:gd name="connsiteX3" fmla="*/ 9144000 w 9144000"/>
              <a:gd name="connsiteY3" fmla="*/ 139696 h 977896"/>
              <a:gd name="connsiteX4" fmla="*/ 1371600 w 9144000"/>
              <a:gd name="connsiteY4" fmla="*/ 139696 h 977896"/>
              <a:gd name="connsiteX5" fmla="*/ 0 w 9144000"/>
              <a:gd name="connsiteY5" fmla="*/ 10176 h 977896"/>
              <a:gd name="connsiteX6" fmla="*/ 338 w 9144000"/>
              <a:gd name="connsiteY6" fmla="*/ 957544 h 977896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5" fmla="*/ 1463040 w 9144000"/>
              <a:gd name="connsiteY5" fmla="*/ 297159 h 967719"/>
              <a:gd name="connsiteX0" fmla="*/ 0 w 9144000"/>
              <a:gd name="connsiteY0" fmla="*/ 1 h 967721"/>
              <a:gd name="connsiteX1" fmla="*/ 338 w 9144000"/>
              <a:gd name="connsiteY1" fmla="*/ 947369 h 967721"/>
              <a:gd name="connsiteX2" fmla="*/ 8991600 w 9144000"/>
              <a:gd name="connsiteY2" fmla="*/ 967721 h 967721"/>
              <a:gd name="connsiteX3" fmla="*/ 9144000 w 9144000"/>
              <a:gd name="connsiteY3" fmla="*/ 967721 h 967721"/>
              <a:gd name="connsiteX4" fmla="*/ 9144000 w 9144000"/>
              <a:gd name="connsiteY4" fmla="*/ 129521 h 967721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0" fmla="*/ 0 w 9144000"/>
              <a:gd name="connsiteY0" fmla="*/ 20360 h 988080"/>
              <a:gd name="connsiteX1" fmla="*/ 338 w 9144000"/>
              <a:gd name="connsiteY1" fmla="*/ 967728 h 988080"/>
              <a:gd name="connsiteX2" fmla="*/ 8991600 w 9144000"/>
              <a:gd name="connsiteY2" fmla="*/ 988080 h 988080"/>
              <a:gd name="connsiteX3" fmla="*/ 9144000 w 9144000"/>
              <a:gd name="connsiteY3" fmla="*/ 988080 h 988080"/>
              <a:gd name="connsiteX4" fmla="*/ 9144000 w 9144000"/>
              <a:gd name="connsiteY4" fmla="*/ 0 h 98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988080">
                <a:moveTo>
                  <a:pt x="0" y="20360"/>
                </a:moveTo>
                <a:cubicBezTo>
                  <a:pt x="225" y="329367"/>
                  <a:pt x="113" y="658721"/>
                  <a:pt x="338" y="967728"/>
                </a:cubicBezTo>
                <a:lnTo>
                  <a:pt x="8991600" y="988080"/>
                </a:lnTo>
                <a:lnTo>
                  <a:pt x="9144000" y="988080"/>
                </a:lnTo>
                <a:lnTo>
                  <a:pt x="9144000" y="0"/>
                </a:lnTo>
              </a:path>
            </a:pathLst>
          </a:custGeom>
          <a:gradFill flip="none" rotWithShape="1">
            <a:gsLst>
              <a:gs pos="0">
                <a:srgbClr val="104A9A"/>
              </a:gs>
              <a:gs pos="100000">
                <a:srgbClr val="2DA34B"/>
              </a:gs>
              <a:gs pos="50000">
                <a:srgbClr val="1BADE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762000"/>
            <a:ext cx="12192000" cy="457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37531897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304800" y="1143000"/>
            <a:ext cx="5689600" cy="5334000"/>
          </a:xfrm>
        </p:spPr>
        <p:txBody>
          <a:bodyPr>
            <a:normAutofit/>
          </a:bodyPr>
          <a:lstStyle>
            <a:lvl1pPr>
              <a:defRPr sz="1800"/>
            </a:lvl1pPr>
            <a:lvl2pPr marL="429816" indent="-217885">
              <a:defRPr sz="1500"/>
            </a:lvl2pPr>
            <a:lvl3pPr marL="641747" indent="-211931">
              <a:defRPr sz="1350"/>
            </a:lvl3pPr>
            <a:lvl4pPr marL="860822" indent="-219075">
              <a:defRPr sz="1200"/>
            </a:lvl4pPr>
            <a:lvl5pPr marL="1072754" indent="-211931"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8510FF5-C089-497A-A684-2177D9A91EE8}"/>
              </a:ext>
            </a:extLst>
          </p:cNvPr>
          <p:cNvSpPr>
            <a:spLocks noGrp="1"/>
          </p:cNvSpPr>
          <p:nvPr>
            <p:ph sz="half" idx="10"/>
          </p:nvPr>
        </p:nvSpPr>
        <p:spPr bwMode="auto">
          <a:xfrm>
            <a:off x="6197600" y="1143000"/>
            <a:ext cx="5689600" cy="5334000"/>
          </a:xfrm>
        </p:spPr>
        <p:txBody>
          <a:bodyPr>
            <a:normAutofit/>
          </a:bodyPr>
          <a:lstStyle>
            <a:lvl1pPr>
              <a:defRPr sz="1800"/>
            </a:lvl1pPr>
            <a:lvl2pPr marL="429816" indent="-217885">
              <a:defRPr sz="1500"/>
            </a:lvl2pPr>
            <a:lvl3pPr marL="641747" indent="-211931">
              <a:defRPr sz="1350"/>
            </a:lvl3pPr>
            <a:lvl4pPr marL="860822" indent="-219075">
              <a:defRPr sz="1200"/>
            </a:lvl4pPr>
            <a:lvl5pPr marL="1072754" indent="-211931"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793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D7CCF20-576D-43C1-9016-99914076A0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143002"/>
            <a:ext cx="11582400" cy="2364971"/>
          </a:xfrm>
        </p:spPr>
        <p:txBody>
          <a:bodyPr/>
          <a:lstStyle>
            <a:lvl1pPr marL="215504" indent="-215504">
              <a:spcBef>
                <a:spcPts val="450"/>
              </a:spcBef>
              <a:defRPr/>
            </a:lvl1pPr>
            <a:lvl2pPr marL="428625" indent="-211931">
              <a:spcBef>
                <a:spcPts val="450"/>
              </a:spcBef>
              <a:defRPr/>
            </a:lvl2pPr>
            <a:lvl3pPr marL="645319" indent="-216694">
              <a:spcBef>
                <a:spcPts val="450"/>
              </a:spcBef>
              <a:defRPr/>
            </a:lvl3pPr>
            <a:lvl4pPr marL="857250" indent="-211931">
              <a:spcBef>
                <a:spcPts val="450"/>
              </a:spcBef>
              <a:defRPr/>
            </a:lvl4pPr>
            <a:lvl5pPr marL="1073944" indent="-216694">
              <a:spcBef>
                <a:spcPts val="45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3A6A24D-6765-4899-B148-D8462336F15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04800" y="3736572"/>
            <a:ext cx="11582400" cy="2740429"/>
          </a:xfrm>
        </p:spPr>
        <p:txBody>
          <a:bodyPr/>
          <a:lstStyle>
            <a:lvl1pPr marL="215504" indent="-215504">
              <a:spcBef>
                <a:spcPts val="450"/>
              </a:spcBef>
              <a:defRPr/>
            </a:lvl1pPr>
            <a:lvl2pPr marL="428625" indent="-211931">
              <a:spcBef>
                <a:spcPts val="450"/>
              </a:spcBef>
              <a:defRPr/>
            </a:lvl2pPr>
            <a:lvl3pPr marL="645319" indent="-216694">
              <a:spcBef>
                <a:spcPts val="450"/>
              </a:spcBef>
              <a:defRPr/>
            </a:lvl3pPr>
            <a:lvl4pPr marL="857250" indent="-211931">
              <a:spcBef>
                <a:spcPts val="450"/>
              </a:spcBef>
              <a:defRPr/>
            </a:lvl4pPr>
            <a:lvl5pPr marL="1073944" indent="-216694">
              <a:spcBef>
                <a:spcPts val="45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6821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940019A-639C-4F2D-99A7-74B891ED5463}"/>
              </a:ext>
            </a:extLst>
          </p:cNvPr>
          <p:cNvSpPr>
            <a:spLocks noGrp="1"/>
          </p:cNvSpPr>
          <p:nvPr>
            <p:ph sz="half" idx="1"/>
          </p:nvPr>
        </p:nvSpPr>
        <p:spPr bwMode="auto">
          <a:xfrm>
            <a:off x="304800" y="1143000"/>
            <a:ext cx="5689600" cy="2514600"/>
          </a:xfrm>
        </p:spPr>
        <p:txBody>
          <a:bodyPr>
            <a:normAutofit/>
          </a:bodyPr>
          <a:lstStyle>
            <a:lvl1pPr>
              <a:defRPr sz="1800"/>
            </a:lvl1pPr>
            <a:lvl2pPr marL="429816" indent="-217885">
              <a:defRPr sz="1500"/>
            </a:lvl2pPr>
            <a:lvl3pPr marL="641747" indent="-211931">
              <a:defRPr sz="1350"/>
            </a:lvl3pPr>
            <a:lvl4pPr marL="860822" indent="-219075">
              <a:defRPr sz="1200"/>
            </a:lvl4pPr>
            <a:lvl5pPr marL="1072754" indent="-211931"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AEFE217-35E6-4D78-9D3D-F721667BA6C5}"/>
              </a:ext>
            </a:extLst>
          </p:cNvPr>
          <p:cNvSpPr>
            <a:spLocks noGrp="1"/>
          </p:cNvSpPr>
          <p:nvPr>
            <p:ph sz="half" idx="14"/>
          </p:nvPr>
        </p:nvSpPr>
        <p:spPr bwMode="auto">
          <a:xfrm>
            <a:off x="304800" y="3733800"/>
            <a:ext cx="5689600" cy="2743200"/>
          </a:xfrm>
        </p:spPr>
        <p:txBody>
          <a:bodyPr>
            <a:normAutofit/>
          </a:bodyPr>
          <a:lstStyle>
            <a:lvl1pPr>
              <a:defRPr sz="1800"/>
            </a:lvl1pPr>
            <a:lvl2pPr marL="429816" indent="-217885">
              <a:defRPr sz="1500"/>
            </a:lvl2pPr>
            <a:lvl3pPr marL="641747" indent="-211931">
              <a:defRPr sz="1350"/>
            </a:lvl3pPr>
            <a:lvl4pPr marL="860822" indent="-219075">
              <a:defRPr sz="1200"/>
            </a:lvl4pPr>
            <a:lvl5pPr marL="1072754" indent="-211931"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175B63-E75B-4152-B3B6-3234BB8CB1D9}"/>
              </a:ext>
            </a:extLst>
          </p:cNvPr>
          <p:cNvSpPr>
            <a:spLocks noGrp="1"/>
          </p:cNvSpPr>
          <p:nvPr>
            <p:ph sz="half" idx="15"/>
          </p:nvPr>
        </p:nvSpPr>
        <p:spPr bwMode="auto">
          <a:xfrm>
            <a:off x="6197600" y="1143000"/>
            <a:ext cx="5689600" cy="2514600"/>
          </a:xfrm>
        </p:spPr>
        <p:txBody>
          <a:bodyPr>
            <a:normAutofit/>
          </a:bodyPr>
          <a:lstStyle>
            <a:lvl1pPr>
              <a:defRPr sz="1800"/>
            </a:lvl1pPr>
            <a:lvl2pPr marL="429816" indent="-217885">
              <a:defRPr sz="1500"/>
            </a:lvl2pPr>
            <a:lvl3pPr marL="641747" indent="-211931">
              <a:defRPr sz="1350"/>
            </a:lvl3pPr>
            <a:lvl4pPr marL="860822" indent="-219075">
              <a:defRPr sz="1200"/>
            </a:lvl4pPr>
            <a:lvl5pPr marL="1072754" indent="-211931"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AA9C01E-E620-4E49-9794-98F5D6E74710}"/>
              </a:ext>
            </a:extLst>
          </p:cNvPr>
          <p:cNvSpPr>
            <a:spLocks noGrp="1"/>
          </p:cNvSpPr>
          <p:nvPr>
            <p:ph sz="half" idx="16"/>
          </p:nvPr>
        </p:nvSpPr>
        <p:spPr bwMode="auto">
          <a:xfrm>
            <a:off x="6197600" y="3733800"/>
            <a:ext cx="5689600" cy="2743200"/>
          </a:xfrm>
        </p:spPr>
        <p:txBody>
          <a:bodyPr>
            <a:normAutofit/>
          </a:bodyPr>
          <a:lstStyle>
            <a:lvl1pPr>
              <a:defRPr sz="1800"/>
            </a:lvl1pPr>
            <a:lvl2pPr marL="429816" indent="-217885">
              <a:defRPr sz="1500"/>
            </a:lvl2pPr>
            <a:lvl3pPr marL="641747" indent="-211931">
              <a:defRPr sz="1350"/>
            </a:lvl3pPr>
            <a:lvl4pPr marL="860822" indent="-219075">
              <a:defRPr sz="1200"/>
            </a:lvl4pPr>
            <a:lvl5pPr marL="1072754" indent="-211931"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032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035" y="1143000"/>
            <a:ext cx="5691717" cy="639762"/>
          </a:xfrm>
        </p:spPr>
        <p:txBody>
          <a:bodyPr anchor="b">
            <a:normAutofit/>
          </a:bodyPr>
          <a:lstStyle>
            <a:lvl1pPr marL="0" indent="0" algn="ctr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7602" y="1143000"/>
            <a:ext cx="5693833" cy="639762"/>
          </a:xfrm>
        </p:spPr>
        <p:txBody>
          <a:bodyPr anchor="b">
            <a:normAutofit/>
          </a:bodyPr>
          <a:lstStyle>
            <a:lvl1pPr marL="0" indent="0" algn="ctr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1D8900F-769B-473B-993D-20207FEE3369}"/>
              </a:ext>
            </a:extLst>
          </p:cNvPr>
          <p:cNvSpPr>
            <a:spLocks noGrp="1"/>
          </p:cNvSpPr>
          <p:nvPr>
            <p:ph sz="half" idx="10"/>
          </p:nvPr>
        </p:nvSpPr>
        <p:spPr bwMode="auto">
          <a:xfrm>
            <a:off x="304801" y="1828800"/>
            <a:ext cx="5695951" cy="4648200"/>
          </a:xfrm>
        </p:spPr>
        <p:txBody>
          <a:bodyPr>
            <a:normAutofit/>
          </a:bodyPr>
          <a:lstStyle>
            <a:lvl1pPr>
              <a:defRPr sz="1800"/>
            </a:lvl1pPr>
            <a:lvl2pPr marL="429816" indent="-217885">
              <a:defRPr sz="1500"/>
            </a:lvl2pPr>
            <a:lvl3pPr marL="641747" indent="-211931">
              <a:defRPr sz="1350"/>
            </a:lvl3pPr>
            <a:lvl4pPr marL="860822" indent="-219075">
              <a:defRPr sz="1200"/>
            </a:lvl4pPr>
            <a:lvl5pPr marL="1072754" indent="-211931"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358F162-DDB5-4B66-A5BA-F45C6C2BB09B}"/>
              </a:ext>
            </a:extLst>
          </p:cNvPr>
          <p:cNvSpPr>
            <a:spLocks noGrp="1"/>
          </p:cNvSpPr>
          <p:nvPr>
            <p:ph sz="half" idx="11"/>
          </p:nvPr>
        </p:nvSpPr>
        <p:spPr bwMode="auto">
          <a:xfrm>
            <a:off x="6197602" y="1832638"/>
            <a:ext cx="5689599" cy="4644362"/>
          </a:xfrm>
        </p:spPr>
        <p:txBody>
          <a:bodyPr>
            <a:normAutofit/>
          </a:bodyPr>
          <a:lstStyle>
            <a:lvl1pPr>
              <a:defRPr sz="1800"/>
            </a:lvl1pPr>
            <a:lvl2pPr marL="429816" indent="-217885">
              <a:defRPr sz="1500"/>
            </a:lvl2pPr>
            <a:lvl3pPr marL="641747" indent="-211931">
              <a:defRPr sz="1350"/>
            </a:lvl3pPr>
            <a:lvl4pPr marL="860822" indent="-219075">
              <a:defRPr sz="1200"/>
            </a:lvl4pPr>
            <a:lvl5pPr marL="1072754" indent="-211931"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906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C78D6C-2437-4540-9D34-EAB69C39315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000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/>
        </p:nvSpPr>
        <p:spPr>
          <a:xfrm rot="10800000">
            <a:off x="304800" y="914400"/>
            <a:ext cx="11887200" cy="119063"/>
          </a:xfrm>
          <a:custGeom>
            <a:avLst/>
            <a:gdLst>
              <a:gd name="connsiteX0" fmla="*/ 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0 w 7620000"/>
              <a:gd name="connsiteY4" fmla="*/ 0 h 838200"/>
              <a:gd name="connsiteX0" fmla="*/ 304800 w 7620000"/>
              <a:gd name="connsiteY0" fmla="*/ 0 h 838200"/>
              <a:gd name="connsiteX1" fmla="*/ 7620000 w 7620000"/>
              <a:gd name="connsiteY1" fmla="*/ 0 h 838200"/>
              <a:gd name="connsiteX2" fmla="*/ 7620000 w 7620000"/>
              <a:gd name="connsiteY2" fmla="*/ 838200 h 838200"/>
              <a:gd name="connsiteX3" fmla="*/ 0 w 7620000"/>
              <a:gd name="connsiteY3" fmla="*/ 838200 h 838200"/>
              <a:gd name="connsiteX4" fmla="*/ 304800 w 7620000"/>
              <a:gd name="connsiteY4" fmla="*/ 0 h 838200"/>
              <a:gd name="connsiteX0" fmla="*/ 304800 w 7620000"/>
              <a:gd name="connsiteY0" fmla="*/ 838200 h 1676400"/>
              <a:gd name="connsiteX1" fmla="*/ 7620000 w 7620000"/>
              <a:gd name="connsiteY1" fmla="*/ 838200 h 1676400"/>
              <a:gd name="connsiteX2" fmla="*/ 7620000 w 7620000"/>
              <a:gd name="connsiteY2" fmla="*/ 1676400 h 1676400"/>
              <a:gd name="connsiteX3" fmla="*/ 0 w 7620000"/>
              <a:gd name="connsiteY3" fmla="*/ 0 h 1676400"/>
              <a:gd name="connsiteX4" fmla="*/ 304800 w 7620000"/>
              <a:gd name="connsiteY4" fmla="*/ 838200 h 1676400"/>
              <a:gd name="connsiteX0" fmla="*/ 304800 w 7620000"/>
              <a:gd name="connsiteY0" fmla="*/ 838200 h 838200"/>
              <a:gd name="connsiteX1" fmla="*/ 7620000 w 7620000"/>
              <a:gd name="connsiteY1" fmla="*/ 838200 h 838200"/>
              <a:gd name="connsiteX2" fmla="*/ 7620000 w 7620000"/>
              <a:gd name="connsiteY2" fmla="*/ 0 h 838200"/>
              <a:gd name="connsiteX3" fmla="*/ 0 w 7620000"/>
              <a:gd name="connsiteY3" fmla="*/ 0 h 838200"/>
              <a:gd name="connsiteX4" fmla="*/ 304800 w 76200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0 h 838200"/>
              <a:gd name="connsiteX3" fmla="*/ 0 w 7772400"/>
              <a:gd name="connsiteY3" fmla="*/ 0 h 838200"/>
              <a:gd name="connsiteX4" fmla="*/ 304800 w 7772400"/>
              <a:gd name="connsiteY4" fmla="*/ 838200 h 838200"/>
              <a:gd name="connsiteX0" fmla="*/ 304800 w 7772400"/>
              <a:gd name="connsiteY0" fmla="*/ 838200 h 838200"/>
              <a:gd name="connsiteX1" fmla="*/ 7620000 w 7772400"/>
              <a:gd name="connsiteY1" fmla="*/ 838200 h 838200"/>
              <a:gd name="connsiteX2" fmla="*/ 7772400 w 7772400"/>
              <a:gd name="connsiteY2" fmla="*/ 838200 h 838200"/>
              <a:gd name="connsiteX3" fmla="*/ 7772400 w 7772400"/>
              <a:gd name="connsiteY3" fmla="*/ 0 h 838200"/>
              <a:gd name="connsiteX4" fmla="*/ 0 w 7772400"/>
              <a:gd name="connsiteY4" fmla="*/ 0 h 838200"/>
              <a:gd name="connsiteX5" fmla="*/ 304800 w 7772400"/>
              <a:gd name="connsiteY5" fmla="*/ 838200 h 838200"/>
              <a:gd name="connsiteX0" fmla="*/ 1676738 w 9144338"/>
              <a:gd name="connsiteY0" fmla="*/ 957548 h 957548"/>
              <a:gd name="connsiteX1" fmla="*/ 8991938 w 9144338"/>
              <a:gd name="connsiteY1" fmla="*/ 957548 h 957548"/>
              <a:gd name="connsiteX2" fmla="*/ 9144338 w 9144338"/>
              <a:gd name="connsiteY2" fmla="*/ 957548 h 957548"/>
              <a:gd name="connsiteX3" fmla="*/ 9144338 w 9144338"/>
              <a:gd name="connsiteY3" fmla="*/ 119348 h 957548"/>
              <a:gd name="connsiteX4" fmla="*/ 1371938 w 9144338"/>
              <a:gd name="connsiteY4" fmla="*/ 119348 h 957548"/>
              <a:gd name="connsiteX5" fmla="*/ 0 w 9144338"/>
              <a:gd name="connsiteY5" fmla="*/ 10175 h 957548"/>
              <a:gd name="connsiteX6" fmla="*/ 1676738 w 9144338"/>
              <a:gd name="connsiteY6" fmla="*/ 957548 h 957548"/>
              <a:gd name="connsiteX0" fmla="*/ 676 w 9144338"/>
              <a:gd name="connsiteY0" fmla="*/ 937198 h 957550"/>
              <a:gd name="connsiteX1" fmla="*/ 8991938 w 9144338"/>
              <a:gd name="connsiteY1" fmla="*/ 957550 h 957550"/>
              <a:gd name="connsiteX2" fmla="*/ 9144338 w 9144338"/>
              <a:gd name="connsiteY2" fmla="*/ 957550 h 957550"/>
              <a:gd name="connsiteX3" fmla="*/ 9144338 w 9144338"/>
              <a:gd name="connsiteY3" fmla="*/ 119350 h 957550"/>
              <a:gd name="connsiteX4" fmla="*/ 1371938 w 9144338"/>
              <a:gd name="connsiteY4" fmla="*/ 119350 h 957550"/>
              <a:gd name="connsiteX5" fmla="*/ 0 w 9144338"/>
              <a:gd name="connsiteY5" fmla="*/ 10177 h 957550"/>
              <a:gd name="connsiteX6" fmla="*/ 676 w 9144338"/>
              <a:gd name="connsiteY6" fmla="*/ 937198 h 957550"/>
              <a:gd name="connsiteX0" fmla="*/ 338 w 9144000"/>
              <a:gd name="connsiteY0" fmla="*/ 957544 h 977896"/>
              <a:gd name="connsiteX1" fmla="*/ 8991600 w 9144000"/>
              <a:gd name="connsiteY1" fmla="*/ 977896 h 977896"/>
              <a:gd name="connsiteX2" fmla="*/ 9144000 w 9144000"/>
              <a:gd name="connsiteY2" fmla="*/ 977896 h 977896"/>
              <a:gd name="connsiteX3" fmla="*/ 9144000 w 9144000"/>
              <a:gd name="connsiteY3" fmla="*/ 139696 h 977896"/>
              <a:gd name="connsiteX4" fmla="*/ 1371600 w 9144000"/>
              <a:gd name="connsiteY4" fmla="*/ 139696 h 977896"/>
              <a:gd name="connsiteX5" fmla="*/ 0 w 9144000"/>
              <a:gd name="connsiteY5" fmla="*/ 10176 h 977896"/>
              <a:gd name="connsiteX6" fmla="*/ 338 w 9144000"/>
              <a:gd name="connsiteY6" fmla="*/ 957544 h 977896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5" fmla="*/ 1463040 w 9144000"/>
              <a:gd name="connsiteY5" fmla="*/ 297159 h 967719"/>
              <a:gd name="connsiteX0" fmla="*/ 0 w 9144000"/>
              <a:gd name="connsiteY0" fmla="*/ 1 h 967721"/>
              <a:gd name="connsiteX1" fmla="*/ 338 w 9144000"/>
              <a:gd name="connsiteY1" fmla="*/ 947369 h 967721"/>
              <a:gd name="connsiteX2" fmla="*/ 8991600 w 9144000"/>
              <a:gd name="connsiteY2" fmla="*/ 967721 h 967721"/>
              <a:gd name="connsiteX3" fmla="*/ 9144000 w 9144000"/>
              <a:gd name="connsiteY3" fmla="*/ 967721 h 967721"/>
              <a:gd name="connsiteX4" fmla="*/ 9144000 w 9144000"/>
              <a:gd name="connsiteY4" fmla="*/ 129521 h 967721"/>
              <a:gd name="connsiteX0" fmla="*/ 0 w 9144000"/>
              <a:gd name="connsiteY0" fmla="*/ -1 h 967719"/>
              <a:gd name="connsiteX1" fmla="*/ 338 w 9144000"/>
              <a:gd name="connsiteY1" fmla="*/ 947367 h 967719"/>
              <a:gd name="connsiteX2" fmla="*/ 8991600 w 9144000"/>
              <a:gd name="connsiteY2" fmla="*/ 967719 h 967719"/>
              <a:gd name="connsiteX3" fmla="*/ 9144000 w 9144000"/>
              <a:gd name="connsiteY3" fmla="*/ 967719 h 967719"/>
              <a:gd name="connsiteX4" fmla="*/ 9144000 w 9144000"/>
              <a:gd name="connsiteY4" fmla="*/ 129519 h 967719"/>
              <a:gd name="connsiteX0" fmla="*/ 0 w 9144000"/>
              <a:gd name="connsiteY0" fmla="*/ 20360 h 988080"/>
              <a:gd name="connsiteX1" fmla="*/ 338 w 9144000"/>
              <a:gd name="connsiteY1" fmla="*/ 967728 h 988080"/>
              <a:gd name="connsiteX2" fmla="*/ 8991600 w 9144000"/>
              <a:gd name="connsiteY2" fmla="*/ 988080 h 988080"/>
              <a:gd name="connsiteX3" fmla="*/ 9144000 w 9144000"/>
              <a:gd name="connsiteY3" fmla="*/ 988080 h 988080"/>
              <a:gd name="connsiteX4" fmla="*/ 9144000 w 9144000"/>
              <a:gd name="connsiteY4" fmla="*/ 0 h 98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988080">
                <a:moveTo>
                  <a:pt x="0" y="20360"/>
                </a:moveTo>
                <a:cubicBezTo>
                  <a:pt x="225" y="329367"/>
                  <a:pt x="113" y="658721"/>
                  <a:pt x="338" y="967728"/>
                </a:cubicBezTo>
                <a:lnTo>
                  <a:pt x="8991600" y="988080"/>
                </a:lnTo>
                <a:lnTo>
                  <a:pt x="9144000" y="988080"/>
                </a:lnTo>
                <a:lnTo>
                  <a:pt x="9144000" y="0"/>
                </a:lnTo>
              </a:path>
            </a:pathLst>
          </a:custGeom>
          <a:gradFill flip="none" rotWithShape="1">
            <a:gsLst>
              <a:gs pos="0">
                <a:srgbClr val="104A9A"/>
              </a:gs>
              <a:gs pos="100000">
                <a:srgbClr val="2DA34B"/>
              </a:gs>
              <a:gs pos="50000">
                <a:srgbClr val="1BADE9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04800" y="0"/>
            <a:ext cx="11582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1143000"/>
            <a:ext cx="11582400" cy="533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9967913" y="6588127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r">
              <a:defRPr/>
            </a:pPr>
            <a:fld id="{AE71AD8B-CB87-4DB0-8C69-27A90145503C}" type="slidenum">
              <a:rPr lang="en-US" sz="675" smtClean="0">
                <a:latin typeface="+mn-lt"/>
                <a:ea typeface="+mn-ea"/>
                <a:cs typeface="+mn-cs"/>
              </a:rPr>
              <a:pPr algn="r">
                <a:defRPr/>
              </a:pPr>
              <a:t>‹#›</a:t>
            </a:fld>
            <a:endParaRPr lang="en-US" sz="675" dirty="0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179233" y="6576830"/>
            <a:ext cx="3707969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kern="120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© </a:t>
            </a:r>
            <a:r>
              <a:rPr lang="en-US" sz="75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2018 Microsemi</a:t>
            </a:r>
            <a:endParaRPr lang="en-US" sz="750" kern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977" y="6554648"/>
            <a:ext cx="2958271" cy="224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475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38" r:id="rId2"/>
    <p:sldLayoutId id="2147483744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5" r:id="rId9"/>
    <p:sldLayoutId id="2147483746" r:id="rId10"/>
    <p:sldLayoutId id="2147483747" r:id="rId11"/>
    <p:sldLayoutId id="2147483748" r:id="rId1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kern="1200" dirty="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-16" charset="0"/>
          <a:ea typeface="ＭＳ Ｐゴシック" charset="0"/>
          <a:cs typeface="Arial" pitchFamily="-16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-16" charset="0"/>
          <a:ea typeface="ＭＳ Ｐゴシック" charset="0"/>
          <a:cs typeface="Arial" pitchFamily="-16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-16" charset="0"/>
          <a:ea typeface="ＭＳ Ｐゴシック" charset="0"/>
          <a:cs typeface="Arial" pitchFamily="-16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-16" charset="0"/>
          <a:ea typeface="ＭＳ Ｐゴシック" charset="0"/>
          <a:cs typeface="Arial" pitchFamily="-16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pitchFamily="-16" charset="0"/>
          <a:ea typeface="Arial" pitchFamily="-16" charset="0"/>
          <a:cs typeface="Arial" pitchFamily="-16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pitchFamily="-16" charset="0"/>
          <a:ea typeface="Arial" pitchFamily="-16" charset="0"/>
          <a:cs typeface="Arial" pitchFamily="-16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pitchFamily="-16" charset="0"/>
          <a:ea typeface="Arial" pitchFamily="-16" charset="0"/>
          <a:cs typeface="Arial" pitchFamily="-16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pitchFamily="-16" charset="0"/>
          <a:ea typeface="Arial" pitchFamily="-16" charset="0"/>
          <a:cs typeface="Arial" pitchFamily="-16" charset="0"/>
        </a:defRPr>
      </a:lvl9pPr>
    </p:titleStyle>
    <p:bodyStyle>
      <a:lvl1pPr marL="215504" indent="-215504" algn="l" rtl="0" eaLnBrk="1" fontAlgn="base" hangingPunct="1">
        <a:lnSpc>
          <a:spcPct val="90000"/>
        </a:lnSpc>
        <a:spcBef>
          <a:spcPts val="450"/>
        </a:spcBef>
        <a:spcAft>
          <a:spcPct val="0"/>
        </a:spcAft>
        <a:buClr>
          <a:schemeClr val="accent1"/>
        </a:buClr>
        <a:buSzPct val="110000"/>
        <a:buFont typeface="Wingdings" charset="0"/>
        <a:buChar char="§"/>
        <a:defRPr lang="en-US" sz="1800" kern="1200" dirty="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384572" indent="-2095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1"/>
        </a:buClr>
        <a:buSzPct val="110000"/>
        <a:buFont typeface="Lucida Grande" charset="0"/>
        <a:buChar char="•"/>
        <a:defRPr lang="en-US" sz="1500" kern="1200" dirty="0">
          <a:solidFill>
            <a:schemeClr val="tx1"/>
          </a:solidFill>
          <a:latin typeface="Arial" pitchFamily="34" charset="0"/>
          <a:ea typeface="Arial" pitchFamily="-16" charset="0"/>
          <a:cs typeface="Arial" pitchFamily="34" charset="0"/>
        </a:defRPr>
      </a:lvl2pPr>
      <a:lvl3pPr marL="514350" indent="-169069" algn="l" rtl="0" eaLnBrk="1" fontAlgn="base" hangingPunct="1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SzPct val="100000"/>
        <a:buFont typeface="Lucida Grande" charset="0"/>
        <a:buChar char="–"/>
        <a:defRPr lang="en-US" kern="1200" dirty="0">
          <a:solidFill>
            <a:schemeClr val="tx1"/>
          </a:solidFill>
          <a:latin typeface="Arial" pitchFamily="34" charset="0"/>
          <a:ea typeface="Arial" pitchFamily="-16" charset="0"/>
          <a:cs typeface="Arial" pitchFamily="34" charset="0"/>
        </a:defRPr>
      </a:lvl3pPr>
      <a:lvl4pPr marL="683419" indent="-169069" algn="l" rtl="0" eaLnBrk="1" fontAlgn="base" hangingPunct="1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SzPct val="100000"/>
        <a:buFont typeface="Lucida Grande" charset="0"/>
        <a:buChar char="–"/>
        <a:defRPr lang="en-US" sz="1200" kern="1200" dirty="0">
          <a:solidFill>
            <a:schemeClr val="tx1"/>
          </a:solidFill>
          <a:latin typeface="Arial" pitchFamily="34" charset="0"/>
          <a:ea typeface="Arial" pitchFamily="-16" charset="0"/>
          <a:cs typeface="Arial" pitchFamily="34" charset="0"/>
        </a:defRPr>
      </a:lvl4pPr>
      <a:lvl5pPr marL="814388" indent="-169069" algn="l" rtl="0" eaLnBrk="1" fontAlgn="base" hangingPunct="1">
        <a:lnSpc>
          <a:spcPct val="90000"/>
        </a:lnSpc>
        <a:spcBef>
          <a:spcPts val="300"/>
        </a:spcBef>
        <a:spcAft>
          <a:spcPct val="0"/>
        </a:spcAft>
        <a:buClr>
          <a:schemeClr val="accent1"/>
        </a:buClr>
        <a:buSzPct val="100000"/>
        <a:buFont typeface="Lucida Grande" charset="0"/>
        <a:buChar char="–"/>
        <a:defRPr lang="en-US" sz="1200" kern="1200" dirty="0">
          <a:solidFill>
            <a:schemeClr val="tx1"/>
          </a:solidFill>
          <a:latin typeface="Arial" pitchFamily="34" charset="0"/>
          <a:ea typeface="Arial" pitchFamily="-16" charset="0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02447" y="4573490"/>
            <a:ext cx="7315200" cy="800100"/>
          </a:xfrm>
        </p:spPr>
        <p:txBody>
          <a:bodyPr/>
          <a:lstStyle/>
          <a:p>
            <a:r>
              <a:rPr lang="en-US" dirty="0"/>
              <a:t>PRTC Class B - A New PRTC Option for Evolving Time Services Needs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2389911" y="5627591"/>
            <a:ext cx="7315200" cy="774700"/>
          </a:xfrm>
        </p:spPr>
        <p:txBody>
          <a:bodyPr/>
          <a:lstStyle/>
          <a:p>
            <a:r>
              <a:rPr lang="en-US" sz="1800" b="1" dirty="0"/>
              <a:t>ITSF George Zampetti 2018</a:t>
            </a:r>
          </a:p>
        </p:txBody>
      </p:sp>
      <p:sp>
        <p:nvSpPr>
          <p:cNvPr id="3" name="AutoShape 2" descr="Image result for confidential"/>
          <p:cNvSpPr>
            <a:spLocks noChangeAspect="1" noChangeArrowheads="1"/>
          </p:cNvSpPr>
          <p:nvPr/>
        </p:nvSpPr>
        <p:spPr bwMode="auto">
          <a:xfrm>
            <a:off x="1679575" y="74890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" name="AutoShape 4" descr="Image result for confidential"/>
          <p:cNvSpPr>
            <a:spLocks noChangeAspect="1" noChangeArrowheads="1"/>
          </p:cNvSpPr>
          <p:nvPr/>
        </p:nvSpPr>
        <p:spPr bwMode="auto">
          <a:xfrm>
            <a:off x="1831975" y="863205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1411649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2"/>
          <p:cNvSpPr>
            <a:spLocks noGrp="1"/>
          </p:cNvSpPr>
          <p:nvPr>
            <p:ph type="title"/>
          </p:nvPr>
        </p:nvSpPr>
        <p:spPr>
          <a:xfrm>
            <a:off x="1752600" y="241877"/>
            <a:ext cx="8915400" cy="685800"/>
          </a:xfrm>
        </p:spPr>
        <p:txBody>
          <a:bodyPr/>
          <a:lstStyle/>
          <a:p>
            <a:pPr algn="ctr"/>
            <a:r>
              <a:rPr lang="en-US" dirty="0"/>
              <a:t>L1-L2 Receiver Temperature Sensitivity</a:t>
            </a:r>
            <a:endParaRPr baseline="30000" dirty="0"/>
          </a:p>
        </p:txBody>
      </p:sp>
      <p:sp>
        <p:nvSpPr>
          <p:cNvPr id="5" name="TextBox 4"/>
          <p:cNvSpPr txBox="1"/>
          <p:nvPr/>
        </p:nvSpPr>
        <p:spPr>
          <a:xfrm>
            <a:off x="1589315" y="2429459"/>
            <a:ext cx="220202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400" dirty="0"/>
              <a:t>Small  correlation with temperature (less than 2ns peak on plot)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/>
              <a:t>Infrequent transients on input readily filtered by clock algorithm.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/>
              <a:t>No evidence of diurnal ionospheric contribution</a:t>
            </a:r>
          </a:p>
          <a:p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 lvl="1">
              <a:buFont typeface="Arial" pitchFamily="34" charset="0"/>
              <a:buChar char="•"/>
            </a:pPr>
            <a:endParaRPr lang="en-US" sz="1400" dirty="0"/>
          </a:p>
          <a:p>
            <a:pPr lvl="1">
              <a:buFont typeface="Arial" pitchFamily="34" charset="0"/>
              <a:buChar char="•"/>
            </a:pPr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F9F15E4-AF52-4FF9-965B-044621737B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1968" y="1466520"/>
            <a:ext cx="6746032" cy="237769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AAD8974-7C01-468A-8752-5B9B3D4B44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1968" y="3844213"/>
            <a:ext cx="6746032" cy="2761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256746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2"/>
          <p:cNvSpPr>
            <a:spLocks noGrp="1"/>
          </p:cNvSpPr>
          <p:nvPr>
            <p:ph type="title"/>
          </p:nvPr>
        </p:nvSpPr>
        <p:spPr>
          <a:xfrm>
            <a:off x="1752600" y="241877"/>
            <a:ext cx="8915400" cy="685800"/>
          </a:xfrm>
        </p:spPr>
        <p:txBody>
          <a:bodyPr/>
          <a:lstStyle/>
          <a:p>
            <a:pPr algn="ctr"/>
            <a:r>
              <a:rPr lang="en-US" dirty="0"/>
              <a:t>PRTC-B TP4100 Multi-Band 18 Day Baseline Test</a:t>
            </a:r>
            <a:endParaRPr baseline="30000" dirty="0"/>
          </a:p>
        </p:txBody>
      </p:sp>
      <p:sp>
        <p:nvSpPr>
          <p:cNvPr id="5" name="TextBox 4"/>
          <p:cNvSpPr txBox="1"/>
          <p:nvPr/>
        </p:nvSpPr>
        <p:spPr>
          <a:xfrm>
            <a:off x="1598646" y="1673679"/>
            <a:ext cx="2202024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400" dirty="0"/>
              <a:t>Time Error Plot scaled to 40ns clearly showing achieved performance margin.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/>
              <a:t>Infrequent transients on input readily filtered by clock algorithm.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/>
              <a:t>No evidence of diurnal ionospheric contribution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/>
              <a:t>TDEV stability peaks at nominally 1ns 5x better than specification.</a:t>
            </a:r>
          </a:p>
          <a:p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 lvl="1">
              <a:buFont typeface="Arial" pitchFamily="34" charset="0"/>
              <a:buChar char="•"/>
            </a:pPr>
            <a:endParaRPr lang="en-US" sz="1400" dirty="0"/>
          </a:p>
          <a:p>
            <a:pPr lvl="1">
              <a:buFont typeface="Arial" pitchFamily="34" charset="0"/>
              <a:buChar char="•"/>
            </a:pPr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0610167-12FE-4545-A410-14FA90CFEA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3114" y="1184988"/>
            <a:ext cx="6734887" cy="265922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98DB0B-E3CD-4DD0-AF1D-3F822BE0FB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3114" y="3666930"/>
            <a:ext cx="6734887" cy="2704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152099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>
          <a:xfrm>
            <a:off x="2344704" y="157165"/>
            <a:ext cx="6629400" cy="685800"/>
          </a:xfrm>
        </p:spPr>
        <p:txBody>
          <a:bodyPr/>
          <a:lstStyle/>
          <a:p>
            <a:pPr algn="ctr"/>
            <a:r>
              <a:rPr lang="en-US" dirty="0"/>
              <a:t>Conclus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6411AA-E7FF-4A00-AAF3-322FF9F14C38}"/>
              </a:ext>
            </a:extLst>
          </p:cNvPr>
          <p:cNvSpPr txBox="1"/>
          <p:nvPr/>
        </p:nvSpPr>
        <p:spPr>
          <a:xfrm>
            <a:off x="2531706" y="1483567"/>
            <a:ext cx="688599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RTC-B supports a significant improvement in the time service budget (40ns as compared to 100ns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RTC-B multiband receivers are fundamentally robust to space weath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Trends in GNSS applications requiring multiband technology for a wide range of applications in precise PNT can be leveraged for tim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RTC-B systems are now available for operator evaluation.</a:t>
            </a:r>
          </a:p>
        </p:txBody>
      </p:sp>
    </p:spTree>
    <p:extLst>
      <p:ext uri="{BB962C8B-B14F-4D97-AF65-F5344CB8AC3E}">
        <p14:creationId xmlns:p14="http://schemas.microsoft.com/office/powerpoint/2010/main" val="792896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Rectangle 63"/>
          <p:cNvSpPr>
            <a:spLocks noChangeArrowheads="1"/>
          </p:cNvSpPr>
          <p:nvPr/>
        </p:nvSpPr>
        <p:spPr bwMode="auto">
          <a:xfrm>
            <a:off x="2817234" y="1938684"/>
            <a:ext cx="4239786" cy="267816"/>
          </a:xfrm>
          <a:prstGeom prst="rect">
            <a:avLst/>
          </a:prstGeom>
          <a:solidFill>
            <a:srgbClr val="D0F0FC"/>
          </a:solidFill>
          <a:ln w="9525">
            <a:noFill/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Char char="•"/>
            </a:pPr>
            <a:endParaRPr lang="fr-FR" altLang="fr-FR" sz="9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42" name="Rectangle 59"/>
          <p:cNvSpPr>
            <a:spLocks noChangeArrowheads="1"/>
          </p:cNvSpPr>
          <p:nvPr/>
        </p:nvSpPr>
        <p:spPr bwMode="auto">
          <a:xfrm>
            <a:off x="2813926" y="2294536"/>
            <a:ext cx="6522434" cy="338779"/>
          </a:xfrm>
          <a:prstGeom prst="rect">
            <a:avLst/>
          </a:prstGeom>
          <a:solidFill>
            <a:srgbClr val="D0F0FC"/>
          </a:solidFill>
          <a:ln w="9525">
            <a:noFill/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Char char="•"/>
            </a:pPr>
            <a:endParaRPr lang="fr-FR" altLang="fr-FR" sz="9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47" name="Rectangle 60"/>
          <p:cNvSpPr>
            <a:spLocks noChangeArrowheads="1"/>
          </p:cNvSpPr>
          <p:nvPr/>
        </p:nvSpPr>
        <p:spPr bwMode="auto">
          <a:xfrm>
            <a:off x="2817237" y="4382120"/>
            <a:ext cx="6518819" cy="145951"/>
          </a:xfrm>
          <a:prstGeom prst="rect">
            <a:avLst/>
          </a:prstGeom>
          <a:solidFill>
            <a:srgbClr val="D0F0FC"/>
          </a:solidFill>
          <a:ln w="9525">
            <a:noFill/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Char char="•"/>
            </a:pPr>
            <a:endParaRPr lang="fr-FR" altLang="fr-FR" sz="9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48" name="Rectangle 61"/>
          <p:cNvSpPr>
            <a:spLocks noChangeArrowheads="1"/>
          </p:cNvSpPr>
          <p:nvPr/>
        </p:nvSpPr>
        <p:spPr bwMode="auto">
          <a:xfrm>
            <a:off x="2822462" y="3910830"/>
            <a:ext cx="6513593" cy="387922"/>
          </a:xfrm>
          <a:prstGeom prst="rect">
            <a:avLst/>
          </a:prstGeom>
          <a:solidFill>
            <a:srgbClr val="D0F0FC"/>
          </a:solidFill>
          <a:ln w="9525">
            <a:noFill/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Char char="•"/>
            </a:pPr>
            <a:endParaRPr lang="fr-FR" altLang="fr-FR" sz="9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75" name="Rectangle 59"/>
          <p:cNvSpPr>
            <a:spLocks noChangeArrowheads="1"/>
          </p:cNvSpPr>
          <p:nvPr/>
        </p:nvSpPr>
        <p:spPr bwMode="auto">
          <a:xfrm>
            <a:off x="2813159" y="2732803"/>
            <a:ext cx="6522434" cy="1064695"/>
          </a:xfrm>
          <a:prstGeom prst="rect">
            <a:avLst/>
          </a:prstGeom>
          <a:solidFill>
            <a:srgbClr val="D0F0FC"/>
          </a:solidFill>
          <a:ln w="9525">
            <a:noFill/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Char char="•"/>
            </a:pPr>
            <a:endParaRPr lang="fr-FR" altLang="fr-FR" sz="9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49" name="Rectangle 60"/>
          <p:cNvSpPr>
            <a:spLocks noChangeArrowheads="1"/>
          </p:cNvSpPr>
          <p:nvPr/>
        </p:nvSpPr>
        <p:spPr bwMode="auto">
          <a:xfrm>
            <a:off x="2910104" y="4930421"/>
            <a:ext cx="4114917" cy="198626"/>
          </a:xfrm>
          <a:prstGeom prst="rect">
            <a:avLst/>
          </a:prstGeom>
          <a:solidFill>
            <a:srgbClr val="D0F0FC"/>
          </a:solidFill>
          <a:ln w="9525">
            <a:noFill/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Char char="•"/>
            </a:pPr>
            <a:endParaRPr lang="fr-FR" altLang="fr-FR" sz="9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34" name="Rectangle 60"/>
          <p:cNvSpPr>
            <a:spLocks noChangeArrowheads="1"/>
          </p:cNvSpPr>
          <p:nvPr/>
        </p:nvSpPr>
        <p:spPr bwMode="auto">
          <a:xfrm>
            <a:off x="5059292" y="5192080"/>
            <a:ext cx="1965728" cy="189414"/>
          </a:xfrm>
          <a:prstGeom prst="rect">
            <a:avLst/>
          </a:prstGeom>
          <a:solidFill>
            <a:srgbClr val="D0F0FC"/>
          </a:solidFill>
          <a:ln w="9525">
            <a:noFill/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Char char="•"/>
            </a:pPr>
            <a:endParaRPr lang="fr-FR" altLang="fr-FR" sz="9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81" name="Rectangle 60"/>
          <p:cNvSpPr>
            <a:spLocks noChangeArrowheads="1"/>
          </p:cNvSpPr>
          <p:nvPr/>
        </p:nvSpPr>
        <p:spPr bwMode="auto">
          <a:xfrm>
            <a:off x="5050265" y="5449257"/>
            <a:ext cx="1975948" cy="184666"/>
          </a:xfrm>
          <a:prstGeom prst="rect">
            <a:avLst/>
          </a:prstGeom>
          <a:solidFill>
            <a:srgbClr val="D0F0FC"/>
          </a:solidFill>
          <a:ln w="9525">
            <a:noFill/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Char char="•"/>
            </a:pPr>
            <a:endParaRPr lang="fr-FR" altLang="fr-FR" sz="9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75" name="Rectangle 60"/>
          <p:cNvSpPr>
            <a:spLocks noChangeArrowheads="1"/>
          </p:cNvSpPr>
          <p:nvPr/>
        </p:nvSpPr>
        <p:spPr bwMode="auto">
          <a:xfrm>
            <a:off x="2915331" y="5439732"/>
            <a:ext cx="1910992" cy="194191"/>
          </a:xfrm>
          <a:prstGeom prst="rect">
            <a:avLst/>
          </a:prstGeom>
          <a:solidFill>
            <a:srgbClr val="D0F0FC"/>
          </a:solidFill>
          <a:ln w="9525">
            <a:noFill/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Char char="•"/>
            </a:pPr>
            <a:endParaRPr lang="fr-FR" altLang="fr-FR" sz="9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76" name="Rectangle 60"/>
          <p:cNvSpPr>
            <a:spLocks noChangeArrowheads="1"/>
          </p:cNvSpPr>
          <p:nvPr/>
        </p:nvSpPr>
        <p:spPr bwMode="auto">
          <a:xfrm>
            <a:off x="2911575" y="5192082"/>
            <a:ext cx="1914749" cy="223509"/>
          </a:xfrm>
          <a:prstGeom prst="rect">
            <a:avLst/>
          </a:prstGeom>
          <a:solidFill>
            <a:srgbClr val="D0F0FC"/>
          </a:solidFill>
          <a:ln w="9525">
            <a:noFill/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Char char="•"/>
            </a:pPr>
            <a:endParaRPr lang="fr-FR" altLang="fr-FR" sz="9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41" name="Rectangle 58"/>
          <p:cNvSpPr>
            <a:spLocks noChangeArrowheads="1"/>
          </p:cNvSpPr>
          <p:nvPr/>
        </p:nvSpPr>
        <p:spPr bwMode="auto">
          <a:xfrm>
            <a:off x="2806371" y="1566663"/>
            <a:ext cx="6529223" cy="295011"/>
          </a:xfrm>
          <a:prstGeom prst="rect">
            <a:avLst/>
          </a:prstGeom>
          <a:solidFill>
            <a:srgbClr val="D0F0FC"/>
          </a:solidFill>
          <a:ln w="9525">
            <a:noFill/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Char char="•"/>
            </a:pPr>
            <a:endParaRPr lang="fr-FR" altLang="fr-FR" sz="9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5956698" y="1622578"/>
            <a:ext cx="105371" cy="1538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 err="1">
              <a:solidFill>
                <a:schemeClr val="tx1"/>
              </a:solidFill>
            </a:endParaRPr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4" y="-3576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8194" y="-35768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2667001" y="857253"/>
            <a:ext cx="119063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de-DE" sz="600" dirty="0">
              <a:solidFill>
                <a:srgbClr val="FFFFFF"/>
              </a:solidFill>
              <a:sym typeface="Tele-GroteskNor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3301594" y="2130105"/>
            <a:ext cx="54592" cy="196208"/>
          </a:xfrm>
          <a:prstGeom prst="rect">
            <a:avLst/>
          </a:prstGeom>
          <a:noFill/>
        </p:spPr>
        <p:txBody>
          <a:bodyPr wrap="none" lIns="27000" tIns="0" rIns="27000" bIns="0" rtlCol="0">
            <a:spAutoFit/>
          </a:bodyPr>
          <a:lstStyle/>
          <a:p>
            <a:pPr marL="202500" indent="-202500">
              <a:spcAft>
                <a:spcPts val="338"/>
              </a:spcAft>
              <a:buClr>
                <a:schemeClr val="tx2"/>
              </a:buClr>
            </a:pPr>
            <a:endParaRPr lang="en-US" sz="1275" dirty="0"/>
          </a:p>
        </p:txBody>
      </p:sp>
      <p:sp>
        <p:nvSpPr>
          <p:cNvPr id="147" name="Text Box 13"/>
          <p:cNvSpPr txBox="1">
            <a:spLocks noChangeArrowheads="1"/>
          </p:cNvSpPr>
          <p:nvPr/>
        </p:nvSpPr>
        <p:spPr bwMode="auto">
          <a:xfrm>
            <a:off x="2822461" y="1975864"/>
            <a:ext cx="41680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900" dirty="0"/>
              <a:t>Basics</a:t>
            </a:r>
          </a:p>
        </p:txBody>
      </p:sp>
      <p:sp>
        <p:nvSpPr>
          <p:cNvPr id="148" name="Text Box 14"/>
          <p:cNvSpPr txBox="1">
            <a:spLocks noChangeArrowheads="1"/>
          </p:cNvSpPr>
          <p:nvPr/>
        </p:nvSpPr>
        <p:spPr bwMode="auto">
          <a:xfrm>
            <a:off x="2855641" y="2873791"/>
            <a:ext cx="42802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900" dirty="0"/>
              <a:t>Clocks</a:t>
            </a:r>
          </a:p>
        </p:txBody>
      </p:sp>
      <p:sp>
        <p:nvSpPr>
          <p:cNvPr id="151" name="Rectangle 71"/>
          <p:cNvSpPr>
            <a:spLocks noChangeArrowheads="1"/>
          </p:cNvSpPr>
          <p:nvPr/>
        </p:nvSpPr>
        <p:spPr bwMode="auto">
          <a:xfrm>
            <a:off x="3869490" y="1375818"/>
            <a:ext cx="2070185" cy="3237550"/>
          </a:xfrm>
          <a:prstGeom prst="rect">
            <a:avLst/>
          </a:prstGeom>
          <a:noFill/>
          <a:ln w="28575">
            <a:solidFill>
              <a:srgbClr val="0033CC"/>
            </a:solidFill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lang="fr-FR" sz="2400"/>
          </a:p>
        </p:txBody>
      </p:sp>
      <p:sp>
        <p:nvSpPr>
          <p:cNvPr id="152" name="Text Box 19"/>
          <p:cNvSpPr txBox="1">
            <a:spLocks noChangeArrowheads="1"/>
          </p:cNvSpPr>
          <p:nvPr/>
        </p:nvSpPr>
        <p:spPr bwMode="auto">
          <a:xfrm>
            <a:off x="3970644" y="1282345"/>
            <a:ext cx="1821431" cy="1384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900" b="1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Solutions for frequency:  G.826x</a:t>
            </a:r>
          </a:p>
        </p:txBody>
      </p:sp>
      <p:sp>
        <p:nvSpPr>
          <p:cNvPr id="153" name="Rectangle 73"/>
          <p:cNvSpPr>
            <a:spLocks noChangeArrowheads="1"/>
          </p:cNvSpPr>
          <p:nvPr/>
        </p:nvSpPr>
        <p:spPr bwMode="auto">
          <a:xfrm>
            <a:off x="6062070" y="1375818"/>
            <a:ext cx="3328298" cy="3323980"/>
          </a:xfrm>
          <a:prstGeom prst="rect">
            <a:avLst/>
          </a:prstGeom>
          <a:noFill/>
          <a:ln w="28575">
            <a:solidFill>
              <a:srgbClr val="0033CC"/>
            </a:solidFill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 typeface="Wingdings" pitchFamily="2" charset="2"/>
              <a:buChar char="•"/>
              <a:defRPr/>
            </a:pPr>
            <a:endParaRPr lang="fr-FR" altLang="fr-FR" sz="2400" dirty="0"/>
          </a:p>
        </p:txBody>
      </p:sp>
      <p:sp>
        <p:nvSpPr>
          <p:cNvPr id="154" name="Text Box 21"/>
          <p:cNvSpPr txBox="1">
            <a:spLocks noChangeArrowheads="1"/>
          </p:cNvSpPr>
          <p:nvPr/>
        </p:nvSpPr>
        <p:spPr bwMode="auto">
          <a:xfrm>
            <a:off x="6770793" y="1288179"/>
            <a:ext cx="1971816" cy="1384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900" b="1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Solutions for Time/Phase:   G.827x</a:t>
            </a:r>
          </a:p>
        </p:txBody>
      </p:sp>
      <p:sp>
        <p:nvSpPr>
          <p:cNvPr id="155" name="Rectangle 76"/>
          <p:cNvSpPr>
            <a:spLocks noChangeArrowheads="1"/>
          </p:cNvSpPr>
          <p:nvPr/>
        </p:nvSpPr>
        <p:spPr bwMode="auto">
          <a:xfrm>
            <a:off x="4033480" y="2380256"/>
            <a:ext cx="584951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61.1</a:t>
            </a:r>
          </a:p>
        </p:txBody>
      </p:sp>
      <p:sp>
        <p:nvSpPr>
          <p:cNvPr id="157" name="Text Box 25"/>
          <p:cNvSpPr txBox="1">
            <a:spLocks noChangeArrowheads="1"/>
          </p:cNvSpPr>
          <p:nvPr/>
        </p:nvSpPr>
        <p:spPr bwMode="auto">
          <a:xfrm>
            <a:off x="2813927" y="2261399"/>
            <a:ext cx="9108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900" dirty="0"/>
              <a:t>Network </a:t>
            </a:r>
            <a:br>
              <a:rPr lang="en-GB" altLang="fr-FR" sz="900" dirty="0"/>
            </a:br>
            <a:r>
              <a:rPr lang="en-GB" altLang="fr-FR" sz="900" dirty="0"/>
              <a:t>requirements</a:t>
            </a:r>
          </a:p>
        </p:txBody>
      </p:sp>
      <p:sp>
        <p:nvSpPr>
          <p:cNvPr id="158" name="Rectangle 79"/>
          <p:cNvSpPr>
            <a:spLocks noChangeArrowheads="1"/>
          </p:cNvSpPr>
          <p:nvPr/>
        </p:nvSpPr>
        <p:spPr bwMode="auto">
          <a:xfrm>
            <a:off x="5316083" y="2299163"/>
            <a:ext cx="378845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SyncE</a:t>
            </a:r>
          </a:p>
        </p:txBody>
      </p:sp>
      <p:sp>
        <p:nvSpPr>
          <p:cNvPr id="160" name="Rectangle 83"/>
          <p:cNvSpPr>
            <a:spLocks noChangeArrowheads="1"/>
          </p:cNvSpPr>
          <p:nvPr/>
        </p:nvSpPr>
        <p:spPr bwMode="auto">
          <a:xfrm>
            <a:off x="6608776" y="2748304"/>
            <a:ext cx="448245" cy="115416"/>
          </a:xfrm>
          <a:prstGeom prst="rect">
            <a:avLst/>
          </a:prstGeom>
          <a:solidFill>
            <a:srgbClr val="7DF42C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73</a:t>
            </a:r>
          </a:p>
        </p:txBody>
      </p:sp>
      <p:sp>
        <p:nvSpPr>
          <p:cNvPr id="162" name="Rectangle 85"/>
          <p:cNvSpPr>
            <a:spLocks noChangeArrowheads="1"/>
          </p:cNvSpPr>
          <p:nvPr/>
        </p:nvSpPr>
        <p:spPr bwMode="auto">
          <a:xfrm>
            <a:off x="5044320" y="3206211"/>
            <a:ext cx="770454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750" dirty="0"/>
              <a:t> G.8262   EEC</a:t>
            </a:r>
          </a:p>
        </p:txBody>
      </p:sp>
      <p:cxnSp>
        <p:nvCxnSpPr>
          <p:cNvPr id="166" name="AutoShape 43"/>
          <p:cNvCxnSpPr>
            <a:cxnSpLocks noChangeShapeType="1"/>
            <a:endCxn id="160" idx="1"/>
          </p:cNvCxnSpPr>
          <p:nvPr/>
        </p:nvCxnSpPr>
        <p:spPr bwMode="auto">
          <a:xfrm rot="16200000" flipH="1">
            <a:off x="6220870" y="2418106"/>
            <a:ext cx="679879" cy="95933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169" name="AutoShape 48"/>
          <p:cNvCxnSpPr>
            <a:cxnSpLocks noChangeShapeType="1"/>
            <a:endCxn id="158" idx="0"/>
          </p:cNvCxnSpPr>
          <p:nvPr/>
        </p:nvCxnSpPr>
        <p:spPr bwMode="auto">
          <a:xfrm>
            <a:off x="4797963" y="1958595"/>
            <a:ext cx="707542" cy="340569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 type="triangle"/>
            <a:tailEnd type="none" w="med" len="med"/>
          </a:ln>
          <a:effectLst/>
        </p:spPr>
      </p:cxnSp>
      <p:sp>
        <p:nvSpPr>
          <p:cNvPr id="170" name="Rectangle 95"/>
          <p:cNvSpPr>
            <a:spLocks noChangeArrowheads="1"/>
          </p:cNvSpPr>
          <p:nvPr/>
        </p:nvSpPr>
        <p:spPr bwMode="auto">
          <a:xfrm>
            <a:off x="8352067" y="2424831"/>
            <a:ext cx="984295" cy="115416"/>
          </a:xfrm>
          <a:prstGeom prst="rect">
            <a:avLst/>
          </a:prstGeom>
          <a:solidFill>
            <a:srgbClr val="7DF42C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71.2 (lev.4)</a:t>
            </a:r>
          </a:p>
        </p:txBody>
      </p:sp>
      <p:sp>
        <p:nvSpPr>
          <p:cNvPr id="171" name="Text Box 55"/>
          <p:cNvSpPr txBox="1">
            <a:spLocks noChangeArrowheads="1"/>
          </p:cNvSpPr>
          <p:nvPr/>
        </p:nvSpPr>
        <p:spPr bwMode="auto">
          <a:xfrm>
            <a:off x="2817237" y="1544153"/>
            <a:ext cx="70214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825" dirty="0"/>
              <a:t>Definitions /</a:t>
            </a:r>
            <a:br>
              <a:rPr lang="en-GB" altLang="fr-FR" sz="825" dirty="0"/>
            </a:br>
            <a:r>
              <a:rPr lang="en-GB" altLang="fr-FR" sz="825" dirty="0"/>
              <a:t>terminology</a:t>
            </a:r>
          </a:p>
        </p:txBody>
      </p:sp>
      <p:cxnSp>
        <p:nvCxnSpPr>
          <p:cNvPr id="173" name="AutoShape 58"/>
          <p:cNvCxnSpPr>
            <a:cxnSpLocks noChangeShapeType="1"/>
            <a:stCxn id="172" idx="3"/>
            <a:endCxn id="249" idx="0"/>
          </p:cNvCxnSpPr>
          <p:nvPr/>
        </p:nvCxnSpPr>
        <p:spPr bwMode="auto">
          <a:xfrm>
            <a:off x="6545738" y="1680286"/>
            <a:ext cx="69367" cy="318848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174" name="Connecteur en angle 57"/>
          <p:cNvCxnSpPr>
            <a:stCxn id="137" idx="2"/>
            <a:endCxn id="155" idx="1"/>
          </p:cNvCxnSpPr>
          <p:nvPr/>
        </p:nvCxnSpPr>
        <p:spPr bwMode="auto">
          <a:xfrm rot="16200000" flipH="1">
            <a:off x="3818604" y="2223090"/>
            <a:ext cx="347598" cy="82151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176" name="Connecteur en angle 75"/>
          <p:cNvCxnSpPr>
            <a:stCxn id="172" idx="1"/>
            <a:endCxn id="248" idx="0"/>
          </p:cNvCxnSpPr>
          <p:nvPr/>
        </p:nvCxnSpPr>
        <p:spPr bwMode="auto">
          <a:xfrm rot="10800000" flipV="1">
            <a:off x="4350959" y="1680286"/>
            <a:ext cx="634490" cy="286501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177" name="Connecteur en angle 112"/>
          <p:cNvCxnSpPr>
            <a:stCxn id="160" idx="2"/>
            <a:endCxn id="208" idx="1"/>
          </p:cNvCxnSpPr>
          <p:nvPr/>
        </p:nvCxnSpPr>
        <p:spPr bwMode="auto">
          <a:xfrm rot="16200000" flipH="1">
            <a:off x="6625738" y="3070881"/>
            <a:ext cx="675941" cy="261619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179" name="Connecteur en angle 114"/>
          <p:cNvCxnSpPr>
            <a:stCxn id="160" idx="2"/>
            <a:endCxn id="204" idx="1"/>
          </p:cNvCxnSpPr>
          <p:nvPr/>
        </p:nvCxnSpPr>
        <p:spPr bwMode="auto">
          <a:xfrm rot="16200000" flipH="1">
            <a:off x="6751326" y="2945292"/>
            <a:ext cx="424762" cy="261619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188" name="Connecteur en angle 79"/>
          <p:cNvCxnSpPr>
            <a:cxnSpLocks noChangeShapeType="1"/>
            <a:stCxn id="160" idx="2"/>
            <a:endCxn id="338" idx="1"/>
          </p:cNvCxnSpPr>
          <p:nvPr/>
        </p:nvCxnSpPr>
        <p:spPr bwMode="auto">
          <a:xfrm rot="16200000" flipH="1">
            <a:off x="7190299" y="2506320"/>
            <a:ext cx="804369" cy="1519169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189" name="Rectangle 85"/>
          <p:cNvSpPr>
            <a:spLocks noChangeArrowheads="1"/>
          </p:cNvSpPr>
          <p:nvPr/>
        </p:nvSpPr>
        <p:spPr bwMode="auto">
          <a:xfrm>
            <a:off x="5048693" y="3396564"/>
            <a:ext cx="764297" cy="115416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750" dirty="0"/>
              <a:t> G.8262.1 </a:t>
            </a:r>
            <a:r>
              <a:rPr lang="en-GB" altLang="fr-FR" sz="750" dirty="0" err="1"/>
              <a:t>eEEC</a:t>
            </a:r>
            <a:endParaRPr lang="en-GB" altLang="fr-FR" sz="750" dirty="0"/>
          </a:p>
        </p:txBody>
      </p:sp>
      <p:cxnSp>
        <p:nvCxnSpPr>
          <p:cNvPr id="192" name="Connecteur en angle 57"/>
          <p:cNvCxnSpPr>
            <a:stCxn id="232" idx="3"/>
            <a:endCxn id="162" idx="1"/>
          </p:cNvCxnSpPr>
          <p:nvPr/>
        </p:nvCxnSpPr>
        <p:spPr bwMode="auto">
          <a:xfrm>
            <a:off x="4787460" y="2030603"/>
            <a:ext cx="256861" cy="123331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194" name="Connecteur en angle 57"/>
          <p:cNvCxnSpPr>
            <a:stCxn id="232" idx="3"/>
            <a:endCxn id="189" idx="1"/>
          </p:cNvCxnSpPr>
          <p:nvPr/>
        </p:nvCxnSpPr>
        <p:spPr bwMode="auto">
          <a:xfrm>
            <a:off x="4787460" y="2030604"/>
            <a:ext cx="261233" cy="142366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195" name="AutoShape 42"/>
          <p:cNvCxnSpPr>
            <a:cxnSpLocks noChangeShapeType="1"/>
            <a:stCxn id="232" idx="3"/>
            <a:endCxn id="120" idx="1"/>
          </p:cNvCxnSpPr>
          <p:nvPr/>
        </p:nvCxnSpPr>
        <p:spPr bwMode="auto">
          <a:xfrm>
            <a:off x="4787460" y="2030604"/>
            <a:ext cx="285343" cy="78742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00" name="AutoShape 42"/>
          <p:cNvCxnSpPr>
            <a:cxnSpLocks noChangeShapeType="1"/>
            <a:endCxn id="190" idx="3"/>
          </p:cNvCxnSpPr>
          <p:nvPr/>
        </p:nvCxnSpPr>
        <p:spPr bwMode="auto">
          <a:xfrm rot="5400000">
            <a:off x="5918808" y="2504208"/>
            <a:ext cx="893361" cy="137211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01" name="AutoShape 42"/>
          <p:cNvCxnSpPr>
            <a:cxnSpLocks noChangeShapeType="1"/>
            <a:stCxn id="232" idx="3"/>
            <a:endCxn id="118" idx="1"/>
          </p:cNvCxnSpPr>
          <p:nvPr/>
        </p:nvCxnSpPr>
        <p:spPr bwMode="auto">
          <a:xfrm>
            <a:off x="4787460" y="2030604"/>
            <a:ext cx="285343" cy="98648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02" name="AutoShape 41"/>
          <p:cNvCxnSpPr>
            <a:cxnSpLocks noChangeShapeType="1"/>
            <a:endCxn id="307" idx="1"/>
          </p:cNvCxnSpPr>
          <p:nvPr/>
        </p:nvCxnSpPr>
        <p:spPr bwMode="auto">
          <a:xfrm rot="16200000" flipH="1">
            <a:off x="6890789" y="2148513"/>
            <a:ext cx="231073" cy="176383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03" name="AutoShape 53"/>
          <p:cNvCxnSpPr>
            <a:cxnSpLocks noChangeShapeType="1"/>
            <a:endCxn id="170" idx="1"/>
          </p:cNvCxnSpPr>
          <p:nvPr/>
        </p:nvCxnSpPr>
        <p:spPr bwMode="auto">
          <a:xfrm>
            <a:off x="6918136" y="2121167"/>
            <a:ext cx="1433931" cy="36137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204" name="Rechteck 203"/>
          <p:cNvSpPr/>
          <p:nvPr/>
        </p:nvSpPr>
        <p:spPr bwMode="auto">
          <a:xfrm>
            <a:off x="7094517" y="3153008"/>
            <a:ext cx="1053712" cy="270949"/>
          </a:xfrm>
          <a:prstGeom prst="rect">
            <a:avLst/>
          </a:prstGeom>
          <a:solidFill>
            <a:srgbClr val="99FF6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0" rIns="27000" bIns="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de-DE" sz="750"/>
          </a:p>
        </p:txBody>
      </p:sp>
      <p:sp>
        <p:nvSpPr>
          <p:cNvPr id="208" name="Rechteck 207"/>
          <p:cNvSpPr/>
          <p:nvPr/>
        </p:nvSpPr>
        <p:spPr bwMode="auto">
          <a:xfrm>
            <a:off x="7094517" y="3457713"/>
            <a:ext cx="1053712" cy="163897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0" rIns="27000" bIns="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de-DE" sz="750"/>
          </a:p>
        </p:txBody>
      </p:sp>
      <p:sp>
        <p:nvSpPr>
          <p:cNvPr id="209" name="Rectangle 111"/>
          <p:cNvSpPr>
            <a:spLocks noChangeArrowheads="1"/>
          </p:cNvSpPr>
          <p:nvPr/>
        </p:nvSpPr>
        <p:spPr bwMode="auto">
          <a:xfrm>
            <a:off x="7094515" y="3486150"/>
            <a:ext cx="1057748" cy="115416"/>
          </a:xfrm>
          <a:prstGeom prst="rect">
            <a:avLst/>
          </a:prstGeom>
          <a:solidFill>
            <a:srgbClr val="66FF66"/>
          </a:solidFill>
          <a:ln w="9525">
            <a:noFill/>
            <a:miter lim="800000"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fr-FR" altLang="fr-FR" sz="750" dirty="0"/>
              <a:t>G.8273.3 FTS: T-TC</a:t>
            </a:r>
          </a:p>
        </p:txBody>
      </p:sp>
      <p:sp>
        <p:nvSpPr>
          <p:cNvPr id="210" name="Text Box 21"/>
          <p:cNvSpPr txBox="1">
            <a:spLocks noChangeArrowheads="1"/>
          </p:cNvSpPr>
          <p:nvPr/>
        </p:nvSpPr>
        <p:spPr bwMode="auto">
          <a:xfrm>
            <a:off x="7026213" y="1857080"/>
            <a:ext cx="2402877" cy="219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713" b="1" dirty="0">
                <a:solidFill>
                  <a:srgbClr val="0033CC"/>
                </a:solidFill>
              </a:rPr>
              <a:t>               </a:t>
            </a:r>
            <a:r>
              <a:rPr lang="en-GB" altLang="fr-FR" sz="713" dirty="0">
                <a:solidFill>
                  <a:srgbClr val="0033CC"/>
                </a:solidFill>
              </a:rPr>
              <a:t>FTS                              APTS/PTS</a:t>
            </a:r>
            <a:br>
              <a:rPr lang="en-GB" altLang="fr-FR" sz="713" dirty="0">
                <a:solidFill>
                  <a:srgbClr val="0033CC"/>
                </a:solidFill>
              </a:rPr>
            </a:br>
            <a:r>
              <a:rPr lang="en-GB" altLang="fr-FR" sz="713" dirty="0">
                <a:solidFill>
                  <a:srgbClr val="0033CC"/>
                </a:solidFill>
              </a:rPr>
              <a:t>  (Accuracy level 4/5/6)          (Accuracy level 4)</a:t>
            </a:r>
            <a:endParaRPr lang="en-GB" altLang="fr-FR" sz="713" b="1" dirty="0">
              <a:solidFill>
                <a:srgbClr val="0033CC"/>
              </a:solidFill>
            </a:endParaRPr>
          </a:p>
        </p:txBody>
      </p:sp>
      <p:sp>
        <p:nvSpPr>
          <p:cNvPr id="214" name="Rectangle 194"/>
          <p:cNvSpPr>
            <a:spLocks noChangeArrowheads="1"/>
          </p:cNvSpPr>
          <p:nvPr/>
        </p:nvSpPr>
        <p:spPr bwMode="auto">
          <a:xfrm>
            <a:off x="8352067" y="2160529"/>
            <a:ext cx="984295" cy="2452838"/>
          </a:xfrm>
          <a:prstGeom prst="rect">
            <a:avLst/>
          </a:prstGeom>
          <a:noFill/>
          <a:ln w="15875" algn="ctr">
            <a:solidFill>
              <a:srgbClr val="0033CC"/>
            </a:solidFill>
            <a:prstDash val="dash"/>
            <a:round/>
            <a:headEnd/>
            <a:tailEnd/>
          </a:ln>
        </p:spPr>
        <p:txBody>
          <a:bodyPr lIns="27000" tIns="0" rIns="2700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fr-FR" altLang="fr-FR" sz="750"/>
          </a:p>
        </p:txBody>
      </p:sp>
      <p:sp>
        <p:nvSpPr>
          <p:cNvPr id="233" name="Rectangle 82"/>
          <p:cNvSpPr>
            <a:spLocks noChangeArrowheads="1"/>
          </p:cNvSpPr>
          <p:nvPr/>
        </p:nvSpPr>
        <p:spPr bwMode="auto">
          <a:xfrm>
            <a:off x="4033479" y="2761628"/>
            <a:ext cx="779858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11   PRC</a:t>
            </a:r>
          </a:p>
        </p:txBody>
      </p:sp>
      <p:sp>
        <p:nvSpPr>
          <p:cNvPr id="234" name="Rectangle 82"/>
          <p:cNvSpPr>
            <a:spLocks noChangeArrowheads="1"/>
          </p:cNvSpPr>
          <p:nvPr/>
        </p:nvSpPr>
        <p:spPr bwMode="auto">
          <a:xfrm>
            <a:off x="4033480" y="2961783"/>
            <a:ext cx="779858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11.1 </a:t>
            </a:r>
            <a:r>
              <a:rPr lang="en-GB" altLang="fr-FR" sz="750" dirty="0" err="1"/>
              <a:t>ePRC</a:t>
            </a:r>
            <a:endParaRPr lang="en-GB" altLang="fr-FR" sz="750" dirty="0"/>
          </a:p>
        </p:txBody>
      </p:sp>
      <p:cxnSp>
        <p:nvCxnSpPr>
          <p:cNvPr id="236" name="Connecteur en angle 57"/>
          <p:cNvCxnSpPr>
            <a:stCxn id="137" idx="2"/>
            <a:endCxn id="233" idx="1"/>
          </p:cNvCxnSpPr>
          <p:nvPr/>
        </p:nvCxnSpPr>
        <p:spPr bwMode="auto">
          <a:xfrm rot="16200000" flipH="1">
            <a:off x="3627918" y="2413776"/>
            <a:ext cx="728970" cy="82151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37" name="Connecteur en angle 57"/>
          <p:cNvCxnSpPr>
            <a:stCxn id="137" idx="2"/>
            <a:endCxn id="234" idx="1"/>
          </p:cNvCxnSpPr>
          <p:nvPr/>
        </p:nvCxnSpPr>
        <p:spPr bwMode="auto">
          <a:xfrm rot="16200000" flipH="1">
            <a:off x="3527843" y="2513852"/>
            <a:ext cx="929125" cy="82152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238" name="Rectangle 82"/>
          <p:cNvSpPr>
            <a:spLocks noChangeArrowheads="1"/>
          </p:cNvSpPr>
          <p:nvPr/>
        </p:nvSpPr>
        <p:spPr bwMode="auto">
          <a:xfrm>
            <a:off x="4033479" y="3177697"/>
            <a:ext cx="779858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12   SSU</a:t>
            </a:r>
          </a:p>
        </p:txBody>
      </p:sp>
      <p:cxnSp>
        <p:nvCxnSpPr>
          <p:cNvPr id="239" name="Connecteur en angle 57"/>
          <p:cNvCxnSpPr>
            <a:stCxn id="137" idx="2"/>
            <a:endCxn id="238" idx="1"/>
          </p:cNvCxnSpPr>
          <p:nvPr/>
        </p:nvCxnSpPr>
        <p:spPr bwMode="auto">
          <a:xfrm rot="16200000" flipH="1">
            <a:off x="3419885" y="2621810"/>
            <a:ext cx="1145039" cy="82151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246" name="Rectangle 82"/>
          <p:cNvSpPr>
            <a:spLocks noChangeArrowheads="1"/>
          </p:cNvSpPr>
          <p:nvPr/>
        </p:nvSpPr>
        <p:spPr bwMode="auto">
          <a:xfrm>
            <a:off x="4033479" y="3379216"/>
            <a:ext cx="779858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13   SEC</a:t>
            </a:r>
          </a:p>
        </p:txBody>
      </p:sp>
      <p:cxnSp>
        <p:nvCxnSpPr>
          <p:cNvPr id="247" name="Connecteur en angle 57"/>
          <p:cNvCxnSpPr>
            <a:stCxn id="137" idx="2"/>
            <a:endCxn id="246" idx="1"/>
          </p:cNvCxnSpPr>
          <p:nvPr/>
        </p:nvCxnSpPr>
        <p:spPr bwMode="auto">
          <a:xfrm rot="16200000" flipH="1">
            <a:off x="3319124" y="2722570"/>
            <a:ext cx="1346558" cy="82151"/>
          </a:xfrm>
          <a:prstGeom prst="bentConnector2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9" name="Rectangle 77"/>
          <p:cNvSpPr>
            <a:spLocks noChangeArrowheads="1"/>
          </p:cNvSpPr>
          <p:nvPr/>
        </p:nvSpPr>
        <p:spPr bwMode="auto">
          <a:xfrm>
            <a:off x="7894703" y="2294532"/>
            <a:ext cx="249954" cy="115416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GB" altLang="fr-FR" sz="750" dirty="0"/>
          </a:p>
        </p:txBody>
      </p:sp>
      <p:sp>
        <p:nvSpPr>
          <p:cNvPr id="307" name="Rectangle 81"/>
          <p:cNvSpPr>
            <a:spLocks noChangeArrowheads="1"/>
          </p:cNvSpPr>
          <p:nvPr/>
        </p:nvSpPr>
        <p:spPr bwMode="auto">
          <a:xfrm>
            <a:off x="7094517" y="2294533"/>
            <a:ext cx="800187" cy="115416"/>
          </a:xfrm>
          <a:prstGeom prst="rect">
            <a:avLst/>
          </a:prstGeom>
          <a:solidFill>
            <a:srgbClr val="7DF42C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endParaRPr lang="en-GB" altLang="fr-FR" sz="750" dirty="0"/>
          </a:p>
        </p:txBody>
      </p:sp>
      <p:sp>
        <p:nvSpPr>
          <p:cNvPr id="156" name="Rectangle 77"/>
          <p:cNvSpPr>
            <a:spLocks noChangeArrowheads="1"/>
          </p:cNvSpPr>
          <p:nvPr/>
        </p:nvSpPr>
        <p:spPr bwMode="auto">
          <a:xfrm>
            <a:off x="7094515" y="2291136"/>
            <a:ext cx="1077392" cy="11541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750" dirty="0"/>
              <a:t> G.8271.1(lev.4/ 5/6)</a:t>
            </a:r>
          </a:p>
        </p:txBody>
      </p:sp>
      <p:sp>
        <p:nvSpPr>
          <p:cNvPr id="221" name="Rechteck 220"/>
          <p:cNvSpPr/>
          <p:nvPr/>
        </p:nvSpPr>
        <p:spPr bwMode="auto">
          <a:xfrm>
            <a:off x="7094517" y="2294535"/>
            <a:ext cx="1053711" cy="15388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0" rIns="27000" bIns="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de-DE" sz="750"/>
          </a:p>
        </p:txBody>
      </p:sp>
      <p:sp>
        <p:nvSpPr>
          <p:cNvPr id="333" name="Rectangle 127"/>
          <p:cNvSpPr>
            <a:spLocks noChangeArrowheads="1"/>
          </p:cNvSpPr>
          <p:nvPr/>
        </p:nvSpPr>
        <p:spPr bwMode="auto">
          <a:xfrm>
            <a:off x="5048693" y="3626988"/>
            <a:ext cx="764297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fr-FR" altLang="fr-FR" sz="750" dirty="0"/>
              <a:t> G.8266 T-GM</a:t>
            </a:r>
          </a:p>
        </p:txBody>
      </p:sp>
      <p:sp>
        <p:nvSpPr>
          <p:cNvPr id="232" name="Rechteck 231"/>
          <p:cNvSpPr/>
          <p:nvPr/>
        </p:nvSpPr>
        <p:spPr bwMode="auto">
          <a:xfrm>
            <a:off x="4733453" y="1958595"/>
            <a:ext cx="54006" cy="1440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0" rIns="27000" bIns="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de-DE" sz="750"/>
          </a:p>
        </p:txBody>
      </p:sp>
      <p:cxnSp>
        <p:nvCxnSpPr>
          <p:cNvPr id="334" name="Connecteur en angle 57"/>
          <p:cNvCxnSpPr>
            <a:stCxn id="232" idx="3"/>
            <a:endCxn id="333" idx="1"/>
          </p:cNvCxnSpPr>
          <p:nvPr/>
        </p:nvCxnSpPr>
        <p:spPr bwMode="auto">
          <a:xfrm>
            <a:off x="4787460" y="2030604"/>
            <a:ext cx="261233" cy="165409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49" name="Rectangle 64"/>
          <p:cNvSpPr>
            <a:spLocks noChangeArrowheads="1"/>
          </p:cNvSpPr>
          <p:nvPr/>
        </p:nvSpPr>
        <p:spPr bwMode="auto">
          <a:xfrm>
            <a:off x="5050478" y="4382117"/>
            <a:ext cx="756084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65.1</a:t>
            </a:r>
          </a:p>
        </p:txBody>
      </p:sp>
      <p:sp>
        <p:nvSpPr>
          <p:cNvPr id="350" name="Rectangle 65"/>
          <p:cNvSpPr>
            <a:spLocks noChangeArrowheads="1"/>
          </p:cNvSpPr>
          <p:nvPr/>
        </p:nvSpPr>
        <p:spPr bwMode="auto">
          <a:xfrm>
            <a:off x="7248031" y="4382340"/>
            <a:ext cx="818136" cy="115416"/>
          </a:xfrm>
          <a:prstGeom prst="rect">
            <a:avLst/>
          </a:prstGeom>
          <a:solidFill>
            <a:srgbClr val="7DF42C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75.1 FTS</a:t>
            </a:r>
          </a:p>
        </p:txBody>
      </p:sp>
      <p:sp>
        <p:nvSpPr>
          <p:cNvPr id="351" name="Text Box 15"/>
          <p:cNvSpPr txBox="1">
            <a:spLocks noChangeArrowheads="1"/>
          </p:cNvSpPr>
          <p:nvPr/>
        </p:nvSpPr>
        <p:spPr bwMode="auto">
          <a:xfrm>
            <a:off x="2758032" y="3862163"/>
            <a:ext cx="91810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900" dirty="0"/>
              <a:t>Methods</a:t>
            </a:r>
          </a:p>
          <a:p>
            <a:pPr>
              <a:spcBef>
                <a:spcPts val="0"/>
              </a:spcBef>
            </a:pPr>
            <a:r>
              <a:rPr lang="en-GB" altLang="fr-FR" sz="900" dirty="0"/>
              <a:t>Architecture</a:t>
            </a:r>
          </a:p>
        </p:txBody>
      </p:sp>
      <p:sp>
        <p:nvSpPr>
          <p:cNvPr id="352" name="Text Box 16"/>
          <p:cNvSpPr txBox="1">
            <a:spLocks noChangeArrowheads="1"/>
          </p:cNvSpPr>
          <p:nvPr/>
        </p:nvSpPr>
        <p:spPr bwMode="auto">
          <a:xfrm>
            <a:off x="2801637" y="4350087"/>
            <a:ext cx="109167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900" dirty="0"/>
              <a:t>Profiles (Protocol)</a:t>
            </a:r>
          </a:p>
        </p:txBody>
      </p:sp>
      <p:sp>
        <p:nvSpPr>
          <p:cNvPr id="353" name="Rectangle 84"/>
          <p:cNvSpPr>
            <a:spLocks noChangeArrowheads="1"/>
          </p:cNvSpPr>
          <p:nvPr/>
        </p:nvSpPr>
        <p:spPr bwMode="auto">
          <a:xfrm>
            <a:off x="6608776" y="3923533"/>
            <a:ext cx="417437" cy="115416"/>
          </a:xfrm>
          <a:prstGeom prst="rect">
            <a:avLst/>
          </a:prstGeom>
          <a:solidFill>
            <a:srgbClr val="7DF42C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75  </a:t>
            </a:r>
          </a:p>
        </p:txBody>
      </p:sp>
      <p:sp>
        <p:nvSpPr>
          <p:cNvPr id="354" name="Rectangle 87"/>
          <p:cNvSpPr>
            <a:spLocks noChangeArrowheads="1"/>
          </p:cNvSpPr>
          <p:nvPr/>
        </p:nvSpPr>
        <p:spPr bwMode="auto">
          <a:xfrm>
            <a:off x="4033481" y="3910828"/>
            <a:ext cx="756400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64</a:t>
            </a:r>
          </a:p>
        </p:txBody>
      </p:sp>
      <p:sp>
        <p:nvSpPr>
          <p:cNvPr id="355" name="Rectangle 88"/>
          <p:cNvSpPr>
            <a:spLocks noChangeArrowheads="1"/>
          </p:cNvSpPr>
          <p:nvPr/>
        </p:nvSpPr>
        <p:spPr bwMode="auto">
          <a:xfrm>
            <a:off x="4033481" y="4125974"/>
            <a:ext cx="756399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65</a:t>
            </a:r>
          </a:p>
        </p:txBody>
      </p:sp>
      <p:sp>
        <p:nvSpPr>
          <p:cNvPr id="356" name="Rectangle 93"/>
          <p:cNvSpPr>
            <a:spLocks noChangeArrowheads="1"/>
          </p:cNvSpPr>
          <p:nvPr/>
        </p:nvSpPr>
        <p:spPr bwMode="auto">
          <a:xfrm>
            <a:off x="8513391" y="4382116"/>
            <a:ext cx="737324" cy="115416"/>
          </a:xfrm>
          <a:prstGeom prst="rect">
            <a:avLst/>
          </a:prstGeom>
          <a:solidFill>
            <a:srgbClr val="7DF42C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75.2 PTS</a:t>
            </a:r>
          </a:p>
        </p:txBody>
      </p:sp>
      <p:cxnSp>
        <p:nvCxnSpPr>
          <p:cNvPr id="357" name="Connecteur en angle 103"/>
          <p:cNvCxnSpPr>
            <a:stCxn id="355" idx="3"/>
            <a:endCxn id="349" idx="1"/>
          </p:cNvCxnSpPr>
          <p:nvPr/>
        </p:nvCxnSpPr>
        <p:spPr bwMode="auto">
          <a:xfrm>
            <a:off x="4789880" y="4183683"/>
            <a:ext cx="260599" cy="25614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58" name="Forme 159"/>
          <p:cNvCxnSpPr>
            <a:cxnSpLocks noChangeShapeType="1"/>
            <a:stCxn id="353" idx="3"/>
            <a:endCxn id="350" idx="1"/>
          </p:cNvCxnSpPr>
          <p:nvPr/>
        </p:nvCxnSpPr>
        <p:spPr bwMode="auto">
          <a:xfrm>
            <a:off x="7026213" y="3981242"/>
            <a:ext cx="221819" cy="45880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59" name="Forme 161"/>
          <p:cNvCxnSpPr>
            <a:cxnSpLocks noChangeShapeType="1"/>
            <a:stCxn id="125" idx="3"/>
            <a:endCxn id="356" idx="1"/>
          </p:cNvCxnSpPr>
          <p:nvPr/>
        </p:nvCxnSpPr>
        <p:spPr bwMode="auto">
          <a:xfrm>
            <a:off x="7025023" y="4000478"/>
            <a:ext cx="1488369" cy="43934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137" name="Rechteck 136"/>
          <p:cNvSpPr>
            <a:spLocks noChangeArrowheads="1"/>
          </p:cNvSpPr>
          <p:nvPr/>
        </p:nvSpPr>
        <p:spPr bwMode="auto">
          <a:xfrm>
            <a:off x="3912038" y="1982120"/>
            <a:ext cx="78581" cy="10824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27000" tIns="0" rIns="2700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de-DE" sz="750"/>
          </a:p>
        </p:txBody>
      </p:sp>
      <p:cxnSp>
        <p:nvCxnSpPr>
          <p:cNvPr id="364" name="AutoShape 42"/>
          <p:cNvCxnSpPr>
            <a:cxnSpLocks noChangeShapeType="1"/>
            <a:endCxn id="353" idx="1"/>
          </p:cNvCxnSpPr>
          <p:nvPr/>
        </p:nvCxnSpPr>
        <p:spPr bwMode="auto">
          <a:xfrm rot="16200000" flipH="1">
            <a:off x="5633255" y="3005720"/>
            <a:ext cx="1855109" cy="95933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69" name="Connecteur en angle 57"/>
          <p:cNvCxnSpPr>
            <a:stCxn id="137" idx="2"/>
            <a:endCxn id="354" idx="1"/>
          </p:cNvCxnSpPr>
          <p:nvPr/>
        </p:nvCxnSpPr>
        <p:spPr bwMode="auto">
          <a:xfrm rot="16200000" flipH="1">
            <a:off x="3053319" y="2988375"/>
            <a:ext cx="1878170" cy="82153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72" name="Connecteur en angle 57"/>
          <p:cNvCxnSpPr>
            <a:stCxn id="137" idx="2"/>
            <a:endCxn id="355" idx="1"/>
          </p:cNvCxnSpPr>
          <p:nvPr/>
        </p:nvCxnSpPr>
        <p:spPr bwMode="auto">
          <a:xfrm rot="16200000" flipH="1">
            <a:off x="2945746" y="3095948"/>
            <a:ext cx="2093316" cy="82152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77" name="Rectangle 64"/>
          <p:cNvSpPr>
            <a:spLocks noChangeArrowheads="1"/>
          </p:cNvSpPr>
          <p:nvPr/>
        </p:nvSpPr>
        <p:spPr bwMode="auto">
          <a:xfrm>
            <a:off x="3762237" y="5215585"/>
            <a:ext cx="422625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703</a:t>
            </a:r>
          </a:p>
        </p:txBody>
      </p:sp>
      <p:sp>
        <p:nvSpPr>
          <p:cNvPr id="378" name="Text Box 16"/>
          <p:cNvSpPr txBox="1">
            <a:spLocks noChangeArrowheads="1"/>
          </p:cNvSpPr>
          <p:nvPr/>
        </p:nvSpPr>
        <p:spPr bwMode="auto">
          <a:xfrm>
            <a:off x="2906795" y="5199453"/>
            <a:ext cx="588328" cy="126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825" dirty="0"/>
              <a:t>Interfaces</a:t>
            </a:r>
          </a:p>
        </p:txBody>
      </p:sp>
      <p:sp>
        <p:nvSpPr>
          <p:cNvPr id="379" name="Rectangle 81"/>
          <p:cNvSpPr>
            <a:spLocks noChangeArrowheads="1"/>
          </p:cNvSpPr>
          <p:nvPr/>
        </p:nvSpPr>
        <p:spPr bwMode="auto">
          <a:xfrm>
            <a:off x="3769072" y="5458780"/>
            <a:ext cx="945794" cy="153888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0" rIns="27000" bIns="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750" dirty="0" err="1"/>
              <a:t>G.Suppl.SyncOAM</a:t>
            </a:r>
            <a:endParaRPr lang="en-GB" altLang="fr-FR" sz="750" dirty="0"/>
          </a:p>
        </p:txBody>
      </p:sp>
      <p:sp>
        <p:nvSpPr>
          <p:cNvPr id="380" name="Text Box 16"/>
          <p:cNvSpPr txBox="1">
            <a:spLocks noChangeArrowheads="1"/>
          </p:cNvSpPr>
          <p:nvPr/>
        </p:nvSpPr>
        <p:spPr bwMode="auto">
          <a:xfrm>
            <a:off x="2906031" y="5449256"/>
            <a:ext cx="299787" cy="126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825" dirty="0"/>
              <a:t>OAM</a:t>
            </a:r>
          </a:p>
        </p:txBody>
      </p:sp>
      <p:sp>
        <p:nvSpPr>
          <p:cNvPr id="382" name="Rectangle 64"/>
          <p:cNvSpPr>
            <a:spLocks noChangeArrowheads="1"/>
          </p:cNvSpPr>
          <p:nvPr/>
        </p:nvSpPr>
        <p:spPr bwMode="auto">
          <a:xfrm>
            <a:off x="6363913" y="5449256"/>
            <a:ext cx="621731" cy="163413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0" rIns="27000" bIns="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750" dirty="0" err="1"/>
              <a:t>G.Supp.sim</a:t>
            </a:r>
            <a:endParaRPr lang="en-GB" altLang="fr-FR" sz="750" dirty="0"/>
          </a:p>
        </p:txBody>
      </p:sp>
      <p:sp>
        <p:nvSpPr>
          <p:cNvPr id="383" name="Text Box 16"/>
          <p:cNvSpPr txBox="1">
            <a:spLocks noChangeArrowheads="1"/>
          </p:cNvSpPr>
          <p:nvPr/>
        </p:nvSpPr>
        <p:spPr bwMode="auto">
          <a:xfrm>
            <a:off x="5052189" y="5450777"/>
            <a:ext cx="1541661" cy="126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825" dirty="0"/>
              <a:t>Simulation Background</a:t>
            </a:r>
          </a:p>
        </p:txBody>
      </p:sp>
      <p:sp>
        <p:nvSpPr>
          <p:cNvPr id="384" name="Textfeld 133"/>
          <p:cNvSpPr txBox="1"/>
          <p:nvPr/>
        </p:nvSpPr>
        <p:spPr>
          <a:xfrm>
            <a:off x="6842768" y="5590974"/>
            <a:ext cx="253300" cy="92333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27000" tIns="0" rIns="27000" bIns="0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600" dirty="0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6608778" y="3923533"/>
            <a:ext cx="416245" cy="153888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 err="1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7248035" y="4382340"/>
            <a:ext cx="818135" cy="153888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 err="1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8518338" y="4382340"/>
            <a:ext cx="729348" cy="153888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 err="1">
              <a:solidFill>
                <a:schemeClr val="tx1"/>
              </a:solidFill>
            </a:endParaRPr>
          </a:p>
        </p:txBody>
      </p:sp>
      <p:sp>
        <p:nvSpPr>
          <p:cNvPr id="131" name="Rectangle 77"/>
          <p:cNvSpPr>
            <a:spLocks noChangeArrowheads="1"/>
          </p:cNvSpPr>
          <p:nvPr/>
        </p:nvSpPr>
        <p:spPr bwMode="auto">
          <a:xfrm>
            <a:off x="7996977" y="3156048"/>
            <a:ext cx="147678" cy="115416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GB" altLang="fr-FR" sz="750" dirty="0"/>
          </a:p>
        </p:txBody>
      </p:sp>
      <p:sp>
        <p:nvSpPr>
          <p:cNvPr id="205" name="Rectangle 110"/>
          <p:cNvSpPr>
            <a:spLocks noChangeArrowheads="1"/>
          </p:cNvSpPr>
          <p:nvPr/>
        </p:nvSpPr>
        <p:spPr bwMode="auto">
          <a:xfrm>
            <a:off x="7094516" y="3167474"/>
            <a:ext cx="1057748" cy="205184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lnSpc>
                <a:spcPts val="750"/>
              </a:lnSpc>
              <a:spcBef>
                <a:spcPts val="0"/>
              </a:spcBef>
            </a:pPr>
            <a:r>
              <a:rPr lang="fr-FR" altLang="fr-FR" sz="750" dirty="0"/>
              <a:t>G.8273.2    -A/-B/-C</a:t>
            </a:r>
          </a:p>
          <a:p>
            <a:pPr>
              <a:lnSpc>
                <a:spcPts val="750"/>
              </a:lnSpc>
              <a:spcBef>
                <a:spcPts val="0"/>
              </a:spcBef>
            </a:pPr>
            <a:r>
              <a:rPr lang="fr-FR" altLang="fr-FR" sz="750" dirty="0"/>
              <a:t>FTS: T-BC/T-TSC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7094518" y="3153008"/>
            <a:ext cx="1053710" cy="270949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 err="1">
              <a:solidFill>
                <a:schemeClr val="tx1"/>
              </a:solidFill>
            </a:endParaRPr>
          </a:p>
        </p:txBody>
      </p:sp>
      <p:sp>
        <p:nvSpPr>
          <p:cNvPr id="248" name="Rectangle 80"/>
          <p:cNvSpPr>
            <a:spLocks noChangeArrowheads="1"/>
          </p:cNvSpPr>
          <p:nvPr/>
        </p:nvSpPr>
        <p:spPr bwMode="auto">
          <a:xfrm>
            <a:off x="3912037" y="1966787"/>
            <a:ext cx="877844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61</a:t>
            </a:r>
          </a:p>
        </p:txBody>
      </p:sp>
      <p:sp>
        <p:nvSpPr>
          <p:cNvPr id="249" name="Rectangle 81"/>
          <p:cNvSpPr>
            <a:spLocks noChangeArrowheads="1"/>
          </p:cNvSpPr>
          <p:nvPr/>
        </p:nvSpPr>
        <p:spPr bwMode="auto">
          <a:xfrm>
            <a:off x="6219204" y="1999134"/>
            <a:ext cx="791801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71</a:t>
            </a:r>
          </a:p>
        </p:txBody>
      </p:sp>
      <p:sp>
        <p:nvSpPr>
          <p:cNvPr id="213" name="Rectangle 193"/>
          <p:cNvSpPr>
            <a:spLocks noChangeArrowheads="1"/>
          </p:cNvSpPr>
          <p:nvPr/>
        </p:nvSpPr>
        <p:spPr bwMode="auto">
          <a:xfrm>
            <a:off x="7118196" y="2160529"/>
            <a:ext cx="1053712" cy="2452838"/>
          </a:xfrm>
          <a:prstGeom prst="rect">
            <a:avLst/>
          </a:prstGeom>
          <a:noFill/>
          <a:ln w="15875" algn="ctr">
            <a:solidFill>
              <a:srgbClr val="0033CC"/>
            </a:solidFill>
            <a:prstDash val="dash"/>
            <a:round/>
            <a:headEnd/>
            <a:tailEnd/>
          </a:ln>
        </p:spPr>
        <p:txBody>
          <a:bodyPr lIns="27000" tIns="0" rIns="2700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fr-FR" altLang="fr-FR" sz="750"/>
          </a:p>
        </p:txBody>
      </p:sp>
      <p:sp>
        <p:nvSpPr>
          <p:cNvPr id="143" name="Rechteck 142"/>
          <p:cNvSpPr/>
          <p:nvPr/>
        </p:nvSpPr>
        <p:spPr bwMode="auto">
          <a:xfrm>
            <a:off x="7094516" y="2942781"/>
            <a:ext cx="1053768" cy="163897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0" rIns="27000" bIns="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de-DE" sz="750"/>
          </a:p>
        </p:txBody>
      </p:sp>
      <p:sp>
        <p:nvSpPr>
          <p:cNvPr id="140" name="Rectangle 111"/>
          <p:cNvSpPr>
            <a:spLocks noChangeArrowheads="1"/>
          </p:cNvSpPr>
          <p:nvPr/>
        </p:nvSpPr>
        <p:spPr bwMode="auto">
          <a:xfrm>
            <a:off x="7089043" y="2942778"/>
            <a:ext cx="109698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fr-FR" altLang="fr-FR" sz="750" dirty="0"/>
              <a:t>G.8273.1 T-GM</a:t>
            </a:r>
          </a:p>
        </p:txBody>
      </p:sp>
      <p:cxnSp>
        <p:nvCxnSpPr>
          <p:cNvPr id="144" name="Connecteur en angle 114"/>
          <p:cNvCxnSpPr>
            <a:stCxn id="160" idx="2"/>
            <a:endCxn id="143" idx="1"/>
          </p:cNvCxnSpPr>
          <p:nvPr/>
        </p:nvCxnSpPr>
        <p:spPr bwMode="auto">
          <a:xfrm rot="16200000" flipH="1">
            <a:off x="6883204" y="2813415"/>
            <a:ext cx="161009" cy="261618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164" name="Rectangle 83"/>
          <p:cNvSpPr>
            <a:spLocks noChangeArrowheads="1"/>
          </p:cNvSpPr>
          <p:nvPr/>
        </p:nvSpPr>
        <p:spPr bwMode="auto">
          <a:xfrm>
            <a:off x="8351892" y="3525152"/>
            <a:ext cx="986217" cy="258813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0" rIns="27000" bIns="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lnSpc>
                <a:spcPts val="750"/>
              </a:lnSpc>
              <a:spcBef>
                <a:spcPts val="0"/>
              </a:spcBef>
            </a:pPr>
            <a:endParaRPr lang="en-GB" altLang="fr-FR" sz="750" dirty="0"/>
          </a:p>
        </p:txBody>
      </p:sp>
      <p:sp>
        <p:nvSpPr>
          <p:cNvPr id="338" name="Rectangle 83"/>
          <p:cNvSpPr>
            <a:spLocks noChangeArrowheads="1"/>
          </p:cNvSpPr>
          <p:nvPr/>
        </p:nvSpPr>
        <p:spPr bwMode="auto">
          <a:xfrm>
            <a:off x="8352068" y="3538683"/>
            <a:ext cx="991399" cy="2588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0" rIns="27000" bIns="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lnSpc>
                <a:spcPts val="750"/>
              </a:lnSpc>
              <a:spcBef>
                <a:spcPts val="0"/>
              </a:spcBef>
            </a:pPr>
            <a:r>
              <a:rPr lang="en-GB" altLang="fr-FR" sz="750" dirty="0"/>
              <a:t>G.8273.4    </a:t>
            </a:r>
          </a:p>
          <a:p>
            <a:pPr>
              <a:lnSpc>
                <a:spcPts val="750"/>
              </a:lnSpc>
              <a:spcBef>
                <a:spcPts val="0"/>
              </a:spcBef>
            </a:pPr>
            <a:r>
              <a:rPr lang="en-GB" altLang="fr-FR" sz="750" dirty="0"/>
              <a:t>APTS: T-BC/T-TSC</a:t>
            </a:r>
          </a:p>
        </p:txBody>
      </p:sp>
      <p:sp>
        <p:nvSpPr>
          <p:cNvPr id="340" name="Textfeld 111"/>
          <p:cNvSpPr txBox="1"/>
          <p:nvPr/>
        </p:nvSpPr>
        <p:spPr>
          <a:xfrm>
            <a:off x="8950907" y="3445010"/>
            <a:ext cx="272536" cy="10387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27000" tIns="0" rIns="27000" bIns="0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675" dirty="0">
                <a:solidFill>
                  <a:schemeClr val="bg1"/>
                </a:solidFill>
              </a:rPr>
              <a:t>2018</a:t>
            </a:r>
          </a:p>
        </p:txBody>
      </p:sp>
      <p:cxnSp>
        <p:nvCxnSpPr>
          <p:cNvPr id="272" name="AutoShape 42"/>
          <p:cNvCxnSpPr>
            <a:cxnSpLocks noChangeShapeType="1"/>
            <a:endCxn id="121" idx="3"/>
          </p:cNvCxnSpPr>
          <p:nvPr/>
        </p:nvCxnSpPr>
        <p:spPr bwMode="auto">
          <a:xfrm rot="5400000">
            <a:off x="6012841" y="2417323"/>
            <a:ext cx="712439" cy="130064"/>
          </a:xfrm>
          <a:prstGeom prst="bentConnector2">
            <a:avLst/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126" name="Textfeld 133"/>
          <p:cNvSpPr txBox="1"/>
          <p:nvPr/>
        </p:nvSpPr>
        <p:spPr>
          <a:xfrm>
            <a:off x="4655004" y="5556979"/>
            <a:ext cx="253300" cy="92333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27000" tIns="0" rIns="27000" bIns="0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600" dirty="0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127" name="Rectangle 81"/>
          <p:cNvSpPr>
            <a:spLocks noChangeArrowheads="1"/>
          </p:cNvSpPr>
          <p:nvPr/>
        </p:nvSpPr>
        <p:spPr bwMode="auto">
          <a:xfrm>
            <a:off x="6363913" y="5207469"/>
            <a:ext cx="621731" cy="153888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0" rIns="27000" bIns="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750" dirty="0"/>
              <a:t>TR GNSS</a:t>
            </a:r>
          </a:p>
        </p:txBody>
      </p:sp>
      <p:sp>
        <p:nvSpPr>
          <p:cNvPr id="136" name="Text Box 16"/>
          <p:cNvSpPr txBox="1">
            <a:spLocks noChangeArrowheads="1"/>
          </p:cNvSpPr>
          <p:nvPr/>
        </p:nvSpPr>
        <p:spPr bwMode="auto">
          <a:xfrm>
            <a:off x="5049530" y="5192081"/>
            <a:ext cx="933311" cy="126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825" dirty="0"/>
              <a:t>Technical Report</a:t>
            </a:r>
          </a:p>
        </p:txBody>
      </p:sp>
      <p:sp>
        <p:nvSpPr>
          <p:cNvPr id="146" name="Textfeld 133"/>
          <p:cNvSpPr txBox="1"/>
          <p:nvPr/>
        </p:nvSpPr>
        <p:spPr>
          <a:xfrm>
            <a:off x="6849550" y="5292481"/>
            <a:ext cx="253300" cy="92333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27000" tIns="0" rIns="27000" bIns="0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600" dirty="0">
                <a:solidFill>
                  <a:schemeClr val="bg1"/>
                </a:solidFill>
              </a:rPr>
              <a:t>2019</a:t>
            </a:r>
          </a:p>
        </p:txBody>
      </p:sp>
      <p:sp>
        <p:nvSpPr>
          <p:cNvPr id="139" name="Rectangle 87"/>
          <p:cNvSpPr>
            <a:spLocks noChangeArrowheads="1"/>
          </p:cNvSpPr>
          <p:nvPr/>
        </p:nvSpPr>
        <p:spPr bwMode="auto">
          <a:xfrm>
            <a:off x="5063245" y="4956552"/>
            <a:ext cx="471878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781</a:t>
            </a:r>
          </a:p>
        </p:txBody>
      </p:sp>
      <p:sp>
        <p:nvSpPr>
          <p:cNvPr id="145" name="Rectangle 87"/>
          <p:cNvSpPr>
            <a:spLocks noChangeArrowheads="1"/>
          </p:cNvSpPr>
          <p:nvPr/>
        </p:nvSpPr>
        <p:spPr bwMode="auto">
          <a:xfrm>
            <a:off x="5591362" y="4959769"/>
            <a:ext cx="471878" cy="115416"/>
          </a:xfrm>
          <a:prstGeom prst="rect">
            <a:avLst/>
          </a:prstGeom>
          <a:solidFill>
            <a:srgbClr val="FFFF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781.1</a:t>
            </a:r>
          </a:p>
        </p:txBody>
      </p:sp>
      <p:sp>
        <p:nvSpPr>
          <p:cNvPr id="150" name="Text Box 16"/>
          <p:cNvSpPr txBox="1">
            <a:spLocks noChangeArrowheads="1"/>
          </p:cNvSpPr>
          <p:nvPr/>
        </p:nvSpPr>
        <p:spPr bwMode="auto">
          <a:xfrm>
            <a:off x="2924392" y="4950245"/>
            <a:ext cx="1863410" cy="126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825" dirty="0"/>
              <a:t>Synchronization  Layer Functions</a:t>
            </a:r>
          </a:p>
        </p:txBody>
      </p:sp>
      <p:sp>
        <p:nvSpPr>
          <p:cNvPr id="172" name="Rectangle 98"/>
          <p:cNvSpPr>
            <a:spLocks noChangeArrowheads="1"/>
          </p:cNvSpPr>
          <p:nvPr/>
        </p:nvSpPr>
        <p:spPr bwMode="auto">
          <a:xfrm>
            <a:off x="4985449" y="1622578"/>
            <a:ext cx="1560288" cy="115416"/>
          </a:xfrm>
          <a:prstGeom prst="rect">
            <a:avLst/>
          </a:prstGeom>
          <a:solidFill>
            <a:srgbClr val="7DF42C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750" dirty="0"/>
              <a:t>G.8260: Definitions, metrics</a:t>
            </a:r>
          </a:p>
        </p:txBody>
      </p:sp>
      <p:sp>
        <p:nvSpPr>
          <p:cNvPr id="187" name="Textfeld 133"/>
          <p:cNvSpPr txBox="1"/>
          <p:nvPr/>
        </p:nvSpPr>
        <p:spPr>
          <a:xfrm>
            <a:off x="6029381" y="4907047"/>
            <a:ext cx="253300" cy="92333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27000" tIns="0" rIns="27000" bIns="0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600" dirty="0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225" name="Rectangle 79"/>
          <p:cNvSpPr>
            <a:spLocks noChangeArrowheads="1"/>
          </p:cNvSpPr>
          <p:nvPr/>
        </p:nvSpPr>
        <p:spPr bwMode="auto">
          <a:xfrm>
            <a:off x="5019598" y="1969048"/>
            <a:ext cx="497151" cy="92333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altLang="fr-FR" sz="600" dirty="0"/>
              <a:t>included in</a:t>
            </a:r>
          </a:p>
        </p:txBody>
      </p:sp>
      <p:grpSp>
        <p:nvGrpSpPr>
          <p:cNvPr id="184" name="Gruppieren 183"/>
          <p:cNvGrpSpPr/>
          <p:nvPr/>
        </p:nvGrpSpPr>
        <p:grpSpPr>
          <a:xfrm>
            <a:off x="5069887" y="2760319"/>
            <a:ext cx="1237055" cy="355355"/>
            <a:chOff x="3203848" y="1940026"/>
            <a:chExt cx="1649406" cy="355355"/>
          </a:xfrm>
        </p:grpSpPr>
        <p:sp>
          <p:nvSpPr>
            <p:cNvPr id="190" name="Rectangle 82"/>
            <p:cNvSpPr>
              <a:spLocks noChangeArrowheads="1"/>
            </p:cNvSpPr>
            <p:nvPr/>
          </p:nvSpPr>
          <p:spPr bwMode="auto">
            <a:xfrm>
              <a:off x="3203848" y="2141493"/>
              <a:ext cx="1635993" cy="115416"/>
            </a:xfrm>
            <a:prstGeom prst="rect">
              <a:avLst/>
            </a:prstGeom>
            <a:solidFill>
              <a:srgbClr val="7DF42C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square" lIns="27000" tIns="0" rIns="27000" bIns="0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endParaRPr lang="en-GB" altLang="fr-FR" sz="750" dirty="0">
                <a:solidFill>
                  <a:srgbClr val="C00000"/>
                </a:solidFill>
              </a:endParaRPr>
            </a:p>
          </p:txBody>
        </p:sp>
        <p:sp>
          <p:nvSpPr>
            <p:cNvPr id="117" name="Rechteck 116"/>
            <p:cNvSpPr/>
            <p:nvPr/>
          </p:nvSpPr>
          <p:spPr>
            <a:xfrm>
              <a:off x="4698205" y="2141493"/>
              <a:ext cx="152855" cy="153888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 err="1">
                <a:solidFill>
                  <a:schemeClr val="tx1"/>
                </a:solidFill>
              </a:endParaRPr>
            </a:p>
          </p:txBody>
        </p:sp>
        <p:sp>
          <p:nvSpPr>
            <p:cNvPr id="122" name="Rechteck 121"/>
            <p:cNvSpPr/>
            <p:nvPr/>
          </p:nvSpPr>
          <p:spPr>
            <a:xfrm>
              <a:off x="3207736" y="2141393"/>
              <a:ext cx="1645518" cy="153888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83" name="Gruppieren 182"/>
            <p:cNvGrpSpPr/>
            <p:nvPr/>
          </p:nvGrpSpPr>
          <p:grpSpPr>
            <a:xfrm>
              <a:off x="3203848" y="1940026"/>
              <a:ext cx="1649406" cy="155201"/>
              <a:chOff x="3203848" y="1940026"/>
              <a:chExt cx="1649406" cy="155201"/>
            </a:xfrm>
          </p:grpSpPr>
          <p:sp>
            <p:nvSpPr>
              <p:cNvPr id="159" name="Rectangle 82"/>
              <p:cNvSpPr>
                <a:spLocks noChangeArrowheads="1"/>
              </p:cNvSpPr>
              <p:nvPr/>
            </p:nvSpPr>
            <p:spPr bwMode="auto">
              <a:xfrm>
                <a:off x="3203848" y="1941338"/>
                <a:ext cx="1645518" cy="115416"/>
              </a:xfrm>
              <a:prstGeom prst="rect">
                <a:avLst/>
              </a:prstGeom>
              <a:solidFill>
                <a:srgbClr val="7DF42C"/>
              </a:solidFill>
              <a:ln w="317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square" lIns="27000" tIns="0" rIns="27000" bIns="0">
                <a:spAutoFit/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</a:pPr>
                <a:endParaRPr lang="en-GB" altLang="fr-FR" sz="750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19" name="Rechteck 118"/>
              <p:cNvSpPr/>
              <p:nvPr/>
            </p:nvSpPr>
            <p:spPr>
              <a:xfrm>
                <a:off x="4698206" y="1941339"/>
                <a:ext cx="151160" cy="153888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3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1" name="Rechteck 120"/>
              <p:cNvSpPr/>
              <p:nvPr/>
            </p:nvSpPr>
            <p:spPr>
              <a:xfrm>
                <a:off x="3203848" y="1941338"/>
                <a:ext cx="1645518" cy="153888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3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Rectangle 82"/>
              <p:cNvSpPr>
                <a:spLocks noChangeArrowheads="1"/>
              </p:cNvSpPr>
              <p:nvPr/>
            </p:nvSpPr>
            <p:spPr bwMode="auto">
              <a:xfrm>
                <a:off x="3207736" y="1940026"/>
                <a:ext cx="1645518" cy="115416"/>
              </a:xfrm>
              <a:prstGeom prst="rect">
                <a:avLst/>
              </a:prstGeom>
              <a:noFill/>
              <a:ln w="3175" algn="ctr">
                <a:noFill/>
                <a:round/>
                <a:headEnd/>
                <a:tailEnd/>
              </a:ln>
            </p:spPr>
            <p:txBody>
              <a:bodyPr wrap="square" lIns="27000" tIns="0" rIns="27000" bIns="0">
                <a:spAutoFit/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3200" kern="1200">
                    <a:solidFill>
                      <a:schemeClr val="tx1"/>
                    </a:solidFill>
                    <a:latin typeface="Verdana" pitchFamily="34" charset="0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</a:pPr>
                <a:r>
                  <a:rPr lang="en-GB" altLang="fr-FR" sz="750" dirty="0"/>
                  <a:t>G.8272 PRTC Class A /B</a:t>
                </a:r>
              </a:p>
            </p:txBody>
          </p:sp>
        </p:grpSp>
        <p:sp>
          <p:nvSpPr>
            <p:cNvPr id="118" name="Rectangle 82"/>
            <p:cNvSpPr>
              <a:spLocks noChangeArrowheads="1"/>
            </p:cNvSpPr>
            <p:nvPr/>
          </p:nvSpPr>
          <p:spPr bwMode="auto">
            <a:xfrm>
              <a:off x="3207736" y="2139088"/>
              <a:ext cx="1645518" cy="115416"/>
            </a:xfrm>
            <a:prstGeom prst="rect">
              <a:avLst/>
            </a:prstGeom>
            <a:noFill/>
            <a:ln w="3175" algn="ctr">
              <a:noFill/>
              <a:round/>
              <a:headEnd/>
              <a:tailEnd/>
            </a:ln>
          </p:spPr>
          <p:txBody>
            <a:bodyPr wrap="square" lIns="27000" tIns="0" rIns="27000" bIns="0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GB" altLang="fr-FR" sz="750" dirty="0"/>
                <a:t>G.8272.1 </a:t>
              </a:r>
              <a:r>
                <a:rPr lang="en-GB" altLang="fr-FR" sz="750" dirty="0" err="1"/>
                <a:t>ePRTC</a:t>
              </a:r>
              <a:r>
                <a:rPr lang="en-GB" altLang="fr-FR" sz="750" dirty="0"/>
                <a:t>     A /B</a:t>
              </a:r>
            </a:p>
          </p:txBody>
        </p:sp>
      </p:grpSp>
      <p:sp>
        <p:nvSpPr>
          <p:cNvPr id="185" name="Textfeld 180"/>
          <p:cNvSpPr txBox="1"/>
          <p:nvPr/>
        </p:nvSpPr>
        <p:spPr>
          <a:xfrm>
            <a:off x="6182519" y="2639743"/>
            <a:ext cx="233243" cy="10387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675" dirty="0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235" name="Textfeld 180"/>
          <p:cNvSpPr txBox="1"/>
          <p:nvPr/>
        </p:nvSpPr>
        <p:spPr>
          <a:xfrm>
            <a:off x="5811644" y="3402567"/>
            <a:ext cx="233243" cy="10387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675" dirty="0">
                <a:solidFill>
                  <a:schemeClr val="bg1"/>
                </a:solidFill>
              </a:rPr>
              <a:t>2018</a:t>
            </a:r>
          </a:p>
        </p:txBody>
      </p:sp>
      <p:sp>
        <p:nvSpPr>
          <p:cNvPr id="241" name="Rectangle 71"/>
          <p:cNvSpPr>
            <a:spLocks noChangeArrowheads="1"/>
          </p:cNvSpPr>
          <p:nvPr/>
        </p:nvSpPr>
        <p:spPr bwMode="auto">
          <a:xfrm>
            <a:off x="2822084" y="4799938"/>
            <a:ext cx="4326540" cy="954343"/>
          </a:xfrm>
          <a:prstGeom prst="rect">
            <a:avLst/>
          </a:prstGeom>
          <a:noFill/>
          <a:ln w="28575">
            <a:solidFill>
              <a:srgbClr val="0033CC"/>
            </a:solidFill>
            <a:miter lim="800000"/>
            <a:headEnd/>
            <a:tailEnd/>
          </a:ln>
        </p:spPr>
        <p:txBody>
          <a:bodyPr wrap="none" lIns="27000" tIns="0" rIns="2700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lang="fr-FR" sz="2400"/>
          </a:p>
        </p:txBody>
      </p:sp>
      <p:sp>
        <p:nvSpPr>
          <p:cNvPr id="243" name="Text Box 19"/>
          <p:cNvSpPr txBox="1">
            <a:spLocks noChangeArrowheads="1"/>
          </p:cNvSpPr>
          <p:nvPr/>
        </p:nvSpPr>
        <p:spPr bwMode="auto">
          <a:xfrm>
            <a:off x="4063514" y="4699798"/>
            <a:ext cx="1534861" cy="1384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altLang="fr-FR" sz="900" b="1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Related recommendations</a:t>
            </a:r>
          </a:p>
        </p:txBody>
      </p:sp>
      <p:sp>
        <p:nvSpPr>
          <p:cNvPr id="244" name="ZoneTexte 56"/>
          <p:cNvSpPr txBox="1">
            <a:spLocks noChangeArrowheads="1"/>
          </p:cNvSpPr>
          <p:nvPr/>
        </p:nvSpPr>
        <p:spPr bwMode="auto">
          <a:xfrm>
            <a:off x="8131801" y="5392988"/>
            <a:ext cx="438227" cy="115416"/>
          </a:xfrm>
          <a:prstGeom prst="rect">
            <a:avLst/>
          </a:prstGeom>
          <a:solidFill>
            <a:srgbClr val="FFFF00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altLang="fr-FR" sz="750" dirty="0"/>
              <a:t>ongoing</a:t>
            </a:r>
          </a:p>
        </p:txBody>
      </p:sp>
      <p:sp>
        <p:nvSpPr>
          <p:cNvPr id="245" name="Rectangle 55"/>
          <p:cNvSpPr>
            <a:spLocks noChangeArrowheads="1"/>
          </p:cNvSpPr>
          <p:nvPr/>
        </p:nvSpPr>
        <p:spPr bwMode="auto">
          <a:xfrm>
            <a:off x="7630389" y="5392988"/>
            <a:ext cx="440696" cy="115416"/>
          </a:xfrm>
          <a:prstGeom prst="rect">
            <a:avLst/>
          </a:prstGeom>
          <a:solidFill>
            <a:srgbClr val="7DF42C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altLang="fr-FR" sz="750" dirty="0"/>
              <a:t>Agreed</a:t>
            </a:r>
          </a:p>
        </p:txBody>
      </p:sp>
      <p:sp>
        <p:nvSpPr>
          <p:cNvPr id="250" name="Textfeld 109"/>
          <p:cNvSpPr txBox="1"/>
          <p:nvPr/>
        </p:nvSpPr>
        <p:spPr>
          <a:xfrm>
            <a:off x="8637318" y="5392991"/>
            <a:ext cx="706148" cy="11864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27000" tIns="27000" rIns="27000" bIns="27000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lnSpc>
                <a:spcPts val="525"/>
              </a:lnSpc>
              <a:spcBef>
                <a:spcPts val="0"/>
              </a:spcBef>
            </a:pPr>
            <a:r>
              <a:rPr lang="en-US" sz="600" dirty="0">
                <a:solidFill>
                  <a:schemeClr val="bg1"/>
                </a:solidFill>
              </a:rPr>
              <a:t>Planned for </a:t>
            </a:r>
            <a:r>
              <a:rPr lang="en-US" sz="600" dirty="0" err="1">
                <a:solidFill>
                  <a:schemeClr val="bg1"/>
                </a:solidFill>
              </a:rPr>
              <a:t>yyyy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251" name="Rectangle 55"/>
          <p:cNvSpPr>
            <a:spLocks noChangeArrowheads="1"/>
          </p:cNvSpPr>
          <p:nvPr/>
        </p:nvSpPr>
        <p:spPr bwMode="auto">
          <a:xfrm>
            <a:off x="7599060" y="5192080"/>
            <a:ext cx="591287" cy="115416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</p:spPr>
        <p:txBody>
          <a:bodyPr wrap="square" lIns="27000" tIns="0" rIns="27000" bIns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altLang="fr-FR" sz="750" dirty="0"/>
              <a:t>Legend:</a:t>
            </a:r>
          </a:p>
        </p:txBody>
      </p:sp>
      <p:sp>
        <p:nvSpPr>
          <p:cNvPr id="252" name="Textfeld 251"/>
          <p:cNvSpPr txBox="1"/>
          <p:nvPr/>
        </p:nvSpPr>
        <p:spPr>
          <a:xfrm>
            <a:off x="7996978" y="5679260"/>
            <a:ext cx="1566454" cy="1731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25" dirty="0">
                <a:latin typeface="Arial" pitchFamily="34" charset="0"/>
                <a:cs typeface="Arial" pitchFamily="34" charset="0"/>
              </a:rPr>
              <a:t>Deutsche Telekom , Helmut Imlau, 28.06.2017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5268" y="366687"/>
            <a:ext cx="6515100" cy="353588"/>
          </a:xfrm>
        </p:spPr>
        <p:txBody>
          <a:bodyPr/>
          <a:lstStyle/>
          <a:p>
            <a:r>
              <a:rPr lang="en-GB" dirty="0"/>
              <a:t>Structure of ITU-T Sync Requirements</a:t>
            </a:r>
            <a:endParaRPr lang="en-US" dirty="0"/>
          </a:p>
        </p:txBody>
      </p:sp>
      <p:sp>
        <p:nvSpPr>
          <p:cNvPr id="3" name="Oval 2"/>
          <p:cNvSpPr/>
          <p:nvPr/>
        </p:nvSpPr>
        <p:spPr>
          <a:xfrm>
            <a:off x="5902913" y="2554928"/>
            <a:ext cx="674730" cy="389297"/>
          </a:xfrm>
          <a:prstGeom prst="ellipse">
            <a:avLst/>
          </a:prstGeom>
          <a:noFill/>
          <a:ln w="254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" name="Rectangle 4"/>
          <p:cNvSpPr/>
          <p:nvPr/>
        </p:nvSpPr>
        <p:spPr>
          <a:xfrm>
            <a:off x="7239001" y="4743452"/>
            <a:ext cx="207802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dirty="0">
                <a:solidFill>
                  <a:srgbClr val="FF0000"/>
                </a:solidFill>
              </a:rPr>
              <a:t>PRTC-B: 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FF0000"/>
                </a:solidFill>
              </a:rPr>
              <a:t>Scheduled for consent Oct 2018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FF0000"/>
                </a:solidFill>
              </a:rPr>
              <a:t>Needs multi-band GNSS</a:t>
            </a:r>
            <a:endParaRPr lang="en-US" sz="900" dirty="0">
              <a:solidFill>
                <a:srgbClr val="FF0000"/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 flipH="1" flipV="1">
            <a:off x="6512841" y="2961785"/>
            <a:ext cx="726160" cy="180726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75170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>
          <a:xfrm>
            <a:off x="2913872" y="175826"/>
            <a:ext cx="6629400" cy="685800"/>
          </a:xfrm>
        </p:spPr>
        <p:txBody>
          <a:bodyPr/>
          <a:lstStyle/>
          <a:p>
            <a:pPr algn="ctr"/>
            <a:r>
              <a:rPr lang="en-US" sz="2325" dirty="0"/>
              <a:t>PRTC-B Chronology</a:t>
            </a:r>
          </a:p>
        </p:txBody>
      </p:sp>
      <p:sp>
        <p:nvSpPr>
          <p:cNvPr id="17" name="Text Box 3"/>
          <p:cNvSpPr txBox="1">
            <a:spLocks noChangeArrowheads="1"/>
          </p:cNvSpPr>
          <p:nvPr/>
        </p:nvSpPr>
        <p:spPr bwMode="auto">
          <a:xfrm>
            <a:off x="3009900" y="1585869"/>
            <a:ext cx="234315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500" dirty="0">
                <a:solidFill>
                  <a:srgbClr val="FF0000"/>
                </a:solidFill>
                <a:cs typeface="Lucida Sans Unicode" pitchFamily="34" charset="0"/>
              </a:rPr>
              <a:t>December 2016</a:t>
            </a:r>
          </a:p>
        </p:txBody>
      </p:sp>
      <p:sp>
        <p:nvSpPr>
          <p:cNvPr id="21" name="Text Box 3"/>
          <p:cNvSpPr txBox="1">
            <a:spLocks noChangeArrowheads="1"/>
          </p:cNvSpPr>
          <p:nvPr/>
        </p:nvSpPr>
        <p:spPr bwMode="auto">
          <a:xfrm>
            <a:off x="3295650" y="1836258"/>
            <a:ext cx="6115050" cy="1615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Char char="•"/>
            </a:pPr>
            <a:r>
              <a:rPr lang="en-US" sz="1200" dirty="0">
                <a:cs typeface="Lucida Sans Unicode" pitchFamily="34" charset="0"/>
              </a:rPr>
              <a:t>PRTC Class B initiated by a group of operators: Deutsche Telekom, Orange, Austria Telekom, Swisscom</a:t>
            </a:r>
          </a:p>
          <a:p>
            <a:pPr lvl="1" eaLnBrk="1" hangingPunct="1">
              <a:buFont typeface="Arial" panose="020B0604020202020204" pitchFamily="34" charset="0"/>
              <a:buChar char="•"/>
            </a:pPr>
            <a:r>
              <a:rPr lang="en-US" sz="1050" dirty="0">
                <a:cs typeface="Lucida Sans Unicode" pitchFamily="34" charset="0"/>
              </a:rPr>
              <a:t>“</a:t>
            </a:r>
            <a:r>
              <a:rPr lang="en-US" sz="1050" dirty="0"/>
              <a:t>The current PRTC specification at G.8272 is technologically based on single-band L1 GNSS receivers”</a:t>
            </a:r>
          </a:p>
          <a:p>
            <a:pPr lvl="1" eaLnBrk="1" hangingPunct="1">
              <a:buFont typeface="Arial" panose="020B0604020202020204" pitchFamily="34" charset="0"/>
              <a:buChar char="•"/>
            </a:pPr>
            <a:r>
              <a:rPr lang="en-US" sz="1050" dirty="0"/>
              <a:t>“It is possible to improve noise performance in locked mode significantly using dual-band L1/L2 receivers.”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sz="1200" dirty="0" err="1"/>
              <a:t>Microsemi</a:t>
            </a:r>
            <a:endParaRPr lang="en-US" sz="1200" dirty="0"/>
          </a:p>
          <a:p>
            <a:pPr lvl="1" eaLnBrk="1" hangingPunct="1">
              <a:buFont typeface="Arial" panose="020B0604020202020204" pitchFamily="34" charset="0"/>
              <a:buChar char="•"/>
            </a:pPr>
            <a:r>
              <a:rPr lang="en-GB" sz="1050" dirty="0"/>
              <a:t>“Multiband GNSS receivers can be utilized to actively compensate for ionospheric time delay.”</a:t>
            </a:r>
            <a:endParaRPr lang="en-US" sz="1050" dirty="0"/>
          </a:p>
        </p:txBody>
      </p:sp>
      <p:sp>
        <p:nvSpPr>
          <p:cNvPr id="24" name="Text Box 3"/>
          <p:cNvSpPr txBox="1">
            <a:spLocks noChangeArrowheads="1"/>
          </p:cNvSpPr>
          <p:nvPr/>
        </p:nvSpPr>
        <p:spPr bwMode="auto">
          <a:xfrm>
            <a:off x="3009900" y="3357519"/>
            <a:ext cx="52578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500" dirty="0">
                <a:solidFill>
                  <a:srgbClr val="FF0000"/>
                </a:solidFill>
                <a:cs typeface="Lucida Sans Unicode" pitchFamily="34" charset="0"/>
              </a:rPr>
              <a:t>March 2017</a:t>
            </a:r>
          </a:p>
        </p:txBody>
      </p:sp>
      <p:sp>
        <p:nvSpPr>
          <p:cNvPr id="25" name="Text Box 3"/>
          <p:cNvSpPr txBox="1">
            <a:spLocks noChangeArrowheads="1"/>
          </p:cNvSpPr>
          <p:nvPr/>
        </p:nvSpPr>
        <p:spPr bwMode="auto">
          <a:xfrm>
            <a:off x="3295650" y="3600452"/>
            <a:ext cx="60579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cs typeface="Lucida Sans Unicode" pitchFamily="34" charset="0"/>
              </a:rPr>
              <a:t>Deutsche Telekom, Orange, Austria Telekom, China Mobile initial proposal of PRTC-B performance requirements</a:t>
            </a:r>
          </a:p>
        </p:txBody>
      </p:sp>
      <p:sp>
        <p:nvSpPr>
          <p:cNvPr id="9" name="Text Box 3"/>
          <p:cNvSpPr txBox="1">
            <a:spLocks noChangeArrowheads="1"/>
          </p:cNvSpPr>
          <p:nvPr/>
        </p:nvSpPr>
        <p:spPr bwMode="auto">
          <a:xfrm>
            <a:off x="3009900" y="4114801"/>
            <a:ext cx="52578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500" dirty="0">
                <a:solidFill>
                  <a:srgbClr val="FF0000"/>
                </a:solidFill>
                <a:cs typeface="Lucida Sans Unicode" pitchFamily="34" charset="0"/>
              </a:rPr>
              <a:t>June 2017</a:t>
            </a:r>
          </a:p>
        </p:txBody>
      </p:sp>
      <p:sp>
        <p:nvSpPr>
          <p:cNvPr id="11" name="Text Box 3"/>
          <p:cNvSpPr txBox="1">
            <a:spLocks noChangeArrowheads="1"/>
          </p:cNvSpPr>
          <p:nvPr/>
        </p:nvSpPr>
        <p:spPr bwMode="auto">
          <a:xfrm>
            <a:off x="3295650" y="4343402"/>
            <a:ext cx="60579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cs typeface="Lucida Sans Unicode" pitchFamily="34" charset="0"/>
              </a:rPr>
              <a:t>Deutsche Telekom, Orange, Austria Telekom, Swisscom, China Mobile, </a:t>
            </a:r>
            <a:r>
              <a:rPr lang="en-US" sz="1200" dirty="0" err="1">
                <a:cs typeface="Lucida Sans Unicode" pitchFamily="34" charset="0"/>
              </a:rPr>
              <a:t>Microsemi</a:t>
            </a:r>
            <a:r>
              <a:rPr lang="en-US" sz="1200" dirty="0">
                <a:cs typeface="Lucida Sans Unicode" pitchFamily="34" charset="0"/>
              </a:rPr>
              <a:t>, ADVA: PRTC-B added to G.8272 draft</a:t>
            </a:r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3009900" y="4857751"/>
            <a:ext cx="52578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500" dirty="0">
                <a:solidFill>
                  <a:srgbClr val="FF0000"/>
                </a:solidFill>
                <a:cs typeface="Lucida Sans Unicode" pitchFamily="34" charset="0"/>
              </a:rPr>
              <a:t>September 2017</a:t>
            </a: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auto">
          <a:xfrm>
            <a:off x="3295650" y="5118186"/>
            <a:ext cx="60579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cs typeface="Lucida Sans Unicode" pitchFamily="34" charset="0"/>
              </a:rPr>
              <a:t>PRTC-B performance requirements added to G.8272 draft</a:t>
            </a:r>
          </a:p>
        </p:txBody>
      </p:sp>
      <p:sp>
        <p:nvSpPr>
          <p:cNvPr id="13" name="Text Box 3">
            <a:extLst>
              <a:ext uri="{FF2B5EF4-FFF2-40B4-BE49-F238E27FC236}">
                <a16:creationId xmlns:a16="http://schemas.microsoft.com/office/drawing/2014/main" id="{BC587A58-2469-4CDB-9E6B-40260FF7A8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85372" y="5708304"/>
            <a:ext cx="60579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cs typeface="Lucida Sans Unicode" pitchFamily="34" charset="0"/>
              </a:rPr>
              <a:t>TODO COMPLETE CHRONOLOGY</a:t>
            </a:r>
          </a:p>
        </p:txBody>
      </p:sp>
    </p:spTree>
    <p:extLst>
      <p:ext uri="{BB962C8B-B14F-4D97-AF65-F5344CB8AC3E}">
        <p14:creationId xmlns:p14="http://schemas.microsoft.com/office/powerpoint/2010/main" val="3875983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4724401" y="1748947"/>
            <a:ext cx="1757363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350" dirty="0">
                <a:solidFill>
                  <a:srgbClr val="FF0000"/>
                </a:solidFill>
                <a:cs typeface="Lucida Sans Unicode" pitchFamily="34" charset="0"/>
              </a:rPr>
              <a:t>Time accuracy:</a:t>
            </a:r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153026" y="2087002"/>
            <a:ext cx="2828925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Char char="•"/>
            </a:pPr>
            <a:r>
              <a:rPr lang="en-US" sz="1350" dirty="0">
                <a:cs typeface="Lucida Sans Unicode" pitchFamily="34" charset="0"/>
              </a:rPr>
              <a:t>&lt;=40ns to UTC</a:t>
            </a: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3081338" y="2686050"/>
            <a:ext cx="728663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350" dirty="0">
                <a:solidFill>
                  <a:srgbClr val="FF0000"/>
                </a:solidFill>
                <a:cs typeface="Lucida Sans Unicode" pitchFamily="34" charset="0"/>
              </a:rPr>
              <a:t>MTIE</a:t>
            </a:r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6496051" y="2686050"/>
            <a:ext cx="828675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1350" dirty="0">
                <a:solidFill>
                  <a:srgbClr val="FF0000"/>
                </a:solidFill>
                <a:cs typeface="Lucida Sans Unicode" pitchFamily="34" charset="0"/>
              </a:rPr>
              <a:t>TDEV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2865567" y="201712"/>
            <a:ext cx="6629400" cy="685800"/>
          </a:xfrm>
        </p:spPr>
        <p:txBody>
          <a:bodyPr/>
          <a:lstStyle/>
          <a:p>
            <a:r>
              <a:rPr lang="en-US" sz="2325" dirty="0"/>
              <a:t>PRTC-B Draft Performance Requirements</a:t>
            </a:r>
          </a:p>
        </p:txBody>
      </p:sp>
      <p:pic>
        <p:nvPicPr>
          <p:cNvPr id="15" name="Picture 1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151" y="3086100"/>
            <a:ext cx="3203972" cy="23393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3028952"/>
            <a:ext cx="3314700" cy="24436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02332857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dirty="0"/>
              <a:t>Ionospheric Delay Budget Considerations</a:t>
            </a:r>
            <a:endParaRPr baseline="30000" dirty="0"/>
          </a:p>
        </p:txBody>
      </p:sp>
      <p:pic>
        <p:nvPicPr>
          <p:cNvPr id="24579" name="Picture 2"/>
          <p:cNvPicPr>
            <a:picLocks noChangeAspect="1" noChangeArrowheads="1"/>
          </p:cNvPicPr>
          <p:nvPr/>
        </p:nvPicPr>
        <p:blipFill>
          <a:blip r:embed="rId3" cstate="print"/>
          <a:srcRect l="27977" t="22572" r="24289" b="9055"/>
          <a:stretch>
            <a:fillRect/>
          </a:stretch>
        </p:blipFill>
        <p:spPr bwMode="auto">
          <a:xfrm>
            <a:off x="4620493" y="1722295"/>
            <a:ext cx="6047509" cy="357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5306292" y="5184450"/>
            <a:ext cx="45720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50" dirty="0"/>
              <a:t>Bhattacharya S, </a:t>
            </a:r>
            <a:r>
              <a:rPr lang="en-US" sz="1050" dirty="0" err="1"/>
              <a:t>Purohit</a:t>
            </a:r>
            <a:r>
              <a:rPr lang="en-US" sz="1050" dirty="0"/>
              <a:t> P K, </a:t>
            </a:r>
            <a:r>
              <a:rPr lang="en-US" sz="1050" dirty="0" err="1"/>
              <a:t>Gwai</a:t>
            </a:r>
            <a:r>
              <a:rPr lang="en-US" sz="1050" dirty="0"/>
              <a:t> A K, </a:t>
            </a:r>
            <a:r>
              <a:rPr lang="en-US" sz="1050" i="1" dirty="0"/>
              <a:t>“Ionospheric time delay variations in the equatorial anomaly region during low solar activity using GPS”, Indian J Radio Space Phys., Vol. 38,2009, pp. 266-274</a:t>
            </a:r>
          </a:p>
          <a:p>
            <a:r>
              <a:rPr lang="en-US" sz="1050" dirty="0"/>
              <a:t> 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24002" y="1722294"/>
            <a:ext cx="3439391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1400" dirty="0"/>
              <a:t>GNSS Time Error highly dependent on delay variations through Ionosphere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/>
              <a:t>12 months of delay variation data from study in Bhopal India during solar minimum period (2005)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/>
              <a:t>All graphs scaled to 50ns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/>
              <a:t>Both Strong Diurnal as well as monthly (seasonal) delay variations are introduced by “Ionospheric Weather”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/>
              <a:t>Other unintentional or intentional sources of spoofing will map to delay variation error as well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/>
              <a:t>For perspective 50ns represents about 30 meters effective change over a 20000 km path from the GNSS satellite.</a:t>
            </a:r>
          </a:p>
          <a:p>
            <a:endParaRPr lang="en-US" sz="1400" dirty="0"/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85185448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2"/>
          <p:cNvSpPr>
            <a:spLocks noGrp="1"/>
          </p:cNvSpPr>
          <p:nvPr>
            <p:ph type="title"/>
          </p:nvPr>
        </p:nvSpPr>
        <p:spPr>
          <a:xfrm>
            <a:off x="2189163" y="152455"/>
            <a:ext cx="8915400" cy="685800"/>
          </a:xfrm>
        </p:spPr>
        <p:txBody>
          <a:bodyPr/>
          <a:lstStyle/>
          <a:p>
            <a:r>
              <a:rPr lang="en-US" dirty="0"/>
              <a:t>Ionospheric Scintillation Fading  Considerations</a:t>
            </a:r>
            <a:endParaRPr baseline="30000" dirty="0"/>
          </a:p>
        </p:txBody>
      </p:sp>
      <p:pic>
        <p:nvPicPr>
          <p:cNvPr id="25603" name="Picture 2"/>
          <p:cNvPicPr>
            <a:picLocks noChangeAspect="1" noChangeArrowheads="1"/>
          </p:cNvPicPr>
          <p:nvPr/>
        </p:nvPicPr>
        <p:blipFill>
          <a:blip r:embed="rId3" cstate="print"/>
          <a:srcRect l="22305" t="20604" r="29286" b="17339"/>
          <a:stretch>
            <a:fillRect/>
          </a:stretch>
        </p:blipFill>
        <p:spPr bwMode="auto">
          <a:xfrm>
            <a:off x="4299095" y="1729981"/>
            <a:ext cx="5713412" cy="34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4" name="Rectangle 6"/>
          <p:cNvSpPr>
            <a:spLocks noChangeArrowheads="1"/>
          </p:cNvSpPr>
          <p:nvPr/>
        </p:nvSpPr>
        <p:spPr bwMode="auto">
          <a:xfrm>
            <a:off x="4360863" y="5111354"/>
            <a:ext cx="45720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50" dirty="0" err="1"/>
              <a:t>Seo</a:t>
            </a:r>
            <a:r>
              <a:rPr lang="en-US" sz="1050" dirty="0"/>
              <a:t>, </a:t>
            </a:r>
            <a:r>
              <a:rPr lang="en-US" sz="1050" dirty="0" err="1"/>
              <a:t>Jiwon</a:t>
            </a:r>
            <a:r>
              <a:rPr lang="en-US" sz="1050" dirty="0"/>
              <a:t>, Per </a:t>
            </a:r>
            <a:r>
              <a:rPr lang="en-US" sz="1050" dirty="0" err="1"/>
              <a:t>Enge</a:t>
            </a:r>
            <a:r>
              <a:rPr lang="en-US" sz="1050" dirty="0"/>
              <a:t>, J. David, Powell, Todd Walter, and Stanford University. Department of Aeronautics &amp; Astronautics. "Overcoming Ionospheric Scintillation for Worldwide GPS Aviation." </a:t>
            </a:r>
            <a:r>
              <a:rPr lang="en-US" sz="1050" i="1" dirty="0"/>
              <a:t>Overcoming Ionospheric Scintillation for Worldwide GPS Aviation</a:t>
            </a:r>
            <a:r>
              <a:rPr lang="en-US" sz="1050" dirty="0"/>
              <a:t>. </a:t>
            </a:r>
            <a:r>
              <a:rPr lang="en-US" sz="1050" dirty="0" err="1"/>
              <a:t>N.p</a:t>
            </a:r>
            <a:r>
              <a:rPr lang="en-US" sz="1050" dirty="0"/>
              <a:t>., </a:t>
            </a:r>
            <a:r>
              <a:rPr lang="en-US" sz="1050" dirty="0" err="1"/>
              <a:t>n.d</a:t>
            </a:r>
            <a:r>
              <a:rPr lang="en-US" sz="1050" dirty="0"/>
              <a:t>. Web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94166" y="2034022"/>
            <a:ext cx="3169227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400" dirty="0"/>
              <a:t> Ionospheric Scintillation Fading occurs when under solar transient situations multiple delay paths co-exist through ionosphere.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/>
              <a:t>In example shown the fading was deep 25dB.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/>
              <a:t>Scintillation is a chaotic behavior resulting from “churn in the ionosphere”. 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/>
              <a:t>This is not a simple common mode term that generates the same delay effects over a local distribution.</a:t>
            </a:r>
          </a:p>
          <a:p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 lvl="1">
              <a:buFont typeface="Arial" pitchFamily="34" charset="0"/>
              <a:buChar char="•"/>
            </a:pPr>
            <a:endParaRPr lang="en-US" sz="1400" dirty="0"/>
          </a:p>
          <a:p>
            <a:pPr lvl="1">
              <a:buFont typeface="Arial" pitchFamily="34" charset="0"/>
              <a:buChar char="•"/>
            </a:pPr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65189937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2"/>
          <p:cNvSpPr>
            <a:spLocks noGrp="1"/>
          </p:cNvSpPr>
          <p:nvPr>
            <p:ph type="title"/>
          </p:nvPr>
        </p:nvSpPr>
        <p:spPr>
          <a:xfrm>
            <a:off x="1794165" y="152455"/>
            <a:ext cx="8915400" cy="685800"/>
          </a:xfrm>
        </p:spPr>
        <p:txBody>
          <a:bodyPr/>
          <a:lstStyle/>
          <a:p>
            <a:pPr algn="ctr"/>
            <a:r>
              <a:rPr lang="en-US" dirty="0"/>
              <a:t>Ionospheric Space Weather (Does Change) </a:t>
            </a:r>
            <a:endParaRPr baseline="30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24E191-44DA-4F31-AD6F-EEE8876B94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4166" y="1022286"/>
            <a:ext cx="5132259" cy="269129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48411AA-BC18-4714-8BF9-BF47509C9C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44884" y="3663002"/>
            <a:ext cx="5141168" cy="286566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6E890E6-266A-4F05-9AD4-B0616C3047BB}"/>
              </a:ext>
            </a:extLst>
          </p:cNvPr>
          <p:cNvSpPr txBox="1"/>
          <p:nvPr/>
        </p:nvSpPr>
        <p:spPr>
          <a:xfrm>
            <a:off x="7915469" y="1996554"/>
            <a:ext cx="18941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August 201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3FF9B9-16D5-4009-9966-0927673EED9C}"/>
              </a:ext>
            </a:extLst>
          </p:cNvPr>
          <p:cNvSpPr txBox="1"/>
          <p:nvPr/>
        </p:nvSpPr>
        <p:spPr>
          <a:xfrm>
            <a:off x="2466180" y="4987795"/>
            <a:ext cx="18941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October 2018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E50B623E-6EC8-48D6-AF90-77821C316651}"/>
              </a:ext>
            </a:extLst>
          </p:cNvPr>
          <p:cNvSpPr/>
          <p:nvPr/>
        </p:nvSpPr>
        <p:spPr>
          <a:xfrm>
            <a:off x="4360294" y="5075853"/>
            <a:ext cx="700008" cy="312052"/>
          </a:xfrm>
          <a:prstGeom prst="rightArrow">
            <a:avLst/>
          </a:prstGeom>
          <a:gradFill flip="none" rotWithShape="1">
            <a:gsLst>
              <a:gs pos="20000">
                <a:srgbClr val="FFDA74"/>
              </a:gs>
              <a:gs pos="90000">
                <a:srgbClr val="ED372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C08D12A5-0D1B-4F6E-AFE4-D46D311BDA35}"/>
              </a:ext>
            </a:extLst>
          </p:cNvPr>
          <p:cNvSpPr/>
          <p:nvPr/>
        </p:nvSpPr>
        <p:spPr>
          <a:xfrm rot="10800000">
            <a:off x="7070942" y="2104594"/>
            <a:ext cx="700008" cy="312052"/>
          </a:xfrm>
          <a:prstGeom prst="rightArrow">
            <a:avLst/>
          </a:prstGeom>
          <a:gradFill flip="none" rotWithShape="1">
            <a:gsLst>
              <a:gs pos="20000">
                <a:srgbClr val="FFDA74"/>
              </a:gs>
              <a:gs pos="90000">
                <a:srgbClr val="ED372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137219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2"/>
          <p:cNvSpPr>
            <a:spLocks noGrp="1"/>
          </p:cNvSpPr>
          <p:nvPr>
            <p:ph type="title"/>
          </p:nvPr>
        </p:nvSpPr>
        <p:spPr>
          <a:xfrm>
            <a:off x="1752600" y="241877"/>
            <a:ext cx="8915400" cy="685800"/>
          </a:xfrm>
        </p:spPr>
        <p:txBody>
          <a:bodyPr/>
          <a:lstStyle/>
          <a:p>
            <a:pPr algn="ctr"/>
            <a:r>
              <a:rPr lang="en-US" dirty="0"/>
              <a:t>L1 Only Receiver 30 Day March 2018 (Increasing Diurnal)</a:t>
            </a:r>
            <a:endParaRPr baseline="30000" dirty="0"/>
          </a:p>
        </p:txBody>
      </p:sp>
      <p:sp>
        <p:nvSpPr>
          <p:cNvPr id="5" name="TextBox 4"/>
          <p:cNvSpPr txBox="1"/>
          <p:nvPr/>
        </p:nvSpPr>
        <p:spPr>
          <a:xfrm>
            <a:off x="1589315" y="1352901"/>
            <a:ext cx="2202024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vidence of a Daily Delay Variation that appears to increase over the 30 test perio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onosphere space weather is currently minimal no guarantee this will continu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te absolute accuracy requires calibration of all delay components including cable and L-Band Distrib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 lvl="1">
              <a:buFont typeface="Arial" pitchFamily="34" charset="0"/>
              <a:buChar char="•"/>
            </a:pPr>
            <a:endParaRPr lang="en-US" sz="1400" dirty="0"/>
          </a:p>
          <a:p>
            <a:pPr lvl="1">
              <a:buFont typeface="Arial" pitchFamily="34" charset="0"/>
              <a:buChar char="•"/>
            </a:pPr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34791F2-6E24-4AC2-BACC-2B97DD722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1968" y="3844212"/>
            <a:ext cx="6746032" cy="257363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7D516A6-8501-4F16-8F18-80BCAD5FE3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1968" y="1142282"/>
            <a:ext cx="6746032" cy="2767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756815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2"/>
          <p:cNvSpPr>
            <a:spLocks noGrp="1"/>
          </p:cNvSpPr>
          <p:nvPr>
            <p:ph type="title"/>
          </p:nvPr>
        </p:nvSpPr>
        <p:spPr>
          <a:xfrm>
            <a:off x="1752600" y="241877"/>
            <a:ext cx="8915400" cy="685800"/>
          </a:xfrm>
        </p:spPr>
        <p:txBody>
          <a:bodyPr/>
          <a:lstStyle/>
          <a:p>
            <a:pPr algn="ctr"/>
            <a:r>
              <a:rPr lang="en-US" dirty="0"/>
              <a:t>L1-L2 Receiver 90 Day Baseline</a:t>
            </a:r>
            <a:endParaRPr baseline="30000" dirty="0"/>
          </a:p>
        </p:txBody>
      </p:sp>
      <p:sp>
        <p:nvSpPr>
          <p:cNvPr id="5" name="TextBox 4"/>
          <p:cNvSpPr txBox="1"/>
          <p:nvPr/>
        </p:nvSpPr>
        <p:spPr>
          <a:xfrm>
            <a:off x="1589315" y="2429458"/>
            <a:ext cx="2202024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Long 90 day Baseline shows excellent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ub-Nanosecond Performance stability over all observation windows</a:t>
            </a:r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>
              <a:buFont typeface="Arial" pitchFamily="34" charset="0"/>
              <a:buChar char="•"/>
            </a:pPr>
            <a:endParaRPr lang="en-US" sz="1400" dirty="0"/>
          </a:p>
          <a:p>
            <a:pPr lvl="1">
              <a:buFont typeface="Arial" pitchFamily="34" charset="0"/>
              <a:buChar char="•"/>
            </a:pPr>
            <a:endParaRPr lang="en-US" sz="1400" dirty="0"/>
          </a:p>
          <a:p>
            <a:pPr lvl="1">
              <a:buFont typeface="Arial" pitchFamily="34" charset="0"/>
              <a:buChar char="•"/>
            </a:pPr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BC1212-F5E9-4B82-9484-6B53AEF26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1968" y="1102627"/>
            <a:ext cx="6746032" cy="28069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E64F5F-42F7-4449-A3DD-C83AFBF75B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1968" y="3909527"/>
            <a:ext cx="6746032" cy="2713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833605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KULbcEUaIi0zj.i0iyg"/>
</p:tagLst>
</file>

<file path=ppt/theme/theme1.xml><?xml version="1.0" encoding="utf-8"?>
<a:theme xmlns:a="http://schemas.openxmlformats.org/drawingml/2006/main" name="2013">
  <a:themeElements>
    <a:clrScheme name="Microsemi Color Palette 090116">
      <a:dk1>
        <a:srgbClr val="333333"/>
      </a:dk1>
      <a:lt1>
        <a:srgbClr val="FFFFFF"/>
      </a:lt1>
      <a:dk2>
        <a:srgbClr val="CCCCCC"/>
      </a:dk2>
      <a:lt2>
        <a:srgbClr val="999999"/>
      </a:lt2>
      <a:accent1>
        <a:srgbClr val="0C499C"/>
      </a:accent1>
      <a:accent2>
        <a:srgbClr val="54924E"/>
      </a:accent2>
      <a:accent3>
        <a:srgbClr val="702076"/>
      </a:accent3>
      <a:accent4>
        <a:srgbClr val="F98D29"/>
      </a:accent4>
      <a:accent5>
        <a:srgbClr val="009AD3"/>
      </a:accent5>
      <a:accent6>
        <a:srgbClr val="8D4604"/>
      </a:accent6>
      <a:hlink>
        <a:srgbClr val="002F5F"/>
      </a:hlink>
      <a:folHlink>
        <a:srgbClr val="6C27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20000">
              <a:srgbClr val="FFDA74"/>
            </a:gs>
            <a:gs pos="90000">
              <a:srgbClr val="ED3724"/>
            </a:gs>
          </a:gsLst>
          <a:lin ang="0" scaled="1"/>
          <a:tileRect/>
        </a:gradFill>
        <a:ln>
          <a:noFill/>
        </a:ln>
        <a:effectLst/>
      </a:spPr>
      <a:bodyPr rtlCol="0" anchor="ctr"/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8C9D60AC-FC20-45AD-ACA9-707AE5FAC235}" vid="{A0DC08C3-83E6-4FA3-843E-01E06AD8A12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7356762F8AC54AA1A25B7661409940" ma:contentTypeVersion="0" ma:contentTypeDescription="Create a new document." ma:contentTypeScope="" ma:versionID="885b6e0298b003455e8aa60db94be6d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c96ba11fc0b0f11135d6dc28d8a2ff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5E20D29-A8D7-4361-ADBB-88F67B648B1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96F7C10-EFFF-4A3C-9308-8222FCEA94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5CC9AD4-C2AE-480A-ABF1-01050EB7B7D9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66</TotalTime>
  <Words>869</Words>
  <Application>Microsoft Office PowerPoint</Application>
  <PresentationFormat>Widescreen</PresentationFormat>
  <Paragraphs>177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ＭＳ Ｐゴシック</vt:lpstr>
      <vt:lpstr>Arial</vt:lpstr>
      <vt:lpstr>Calibri</vt:lpstr>
      <vt:lpstr>Lucida Grande</vt:lpstr>
      <vt:lpstr>Lucida Sans Unicode</vt:lpstr>
      <vt:lpstr>Tele-GroteskNor</vt:lpstr>
      <vt:lpstr>Times</vt:lpstr>
      <vt:lpstr>Verdana</vt:lpstr>
      <vt:lpstr>Wingdings</vt:lpstr>
      <vt:lpstr>2013</vt:lpstr>
      <vt:lpstr>think-cell Folie</vt:lpstr>
      <vt:lpstr>PRTC Class B - A New PRTC Option for Evolving Time Services Needs</vt:lpstr>
      <vt:lpstr>Structure of ITU-T Sync Requirements</vt:lpstr>
      <vt:lpstr>PRTC-B Chronology</vt:lpstr>
      <vt:lpstr>PRTC-B Draft Performance Requirements</vt:lpstr>
      <vt:lpstr>Ionospheric Delay Budget Considerations</vt:lpstr>
      <vt:lpstr>Ionospheric Scintillation Fading  Considerations</vt:lpstr>
      <vt:lpstr>Ionospheric Space Weather (Does Change) </vt:lpstr>
      <vt:lpstr>L1 Only Receiver 30 Day March 2018 (Increasing Diurnal)</vt:lpstr>
      <vt:lpstr>L1-L2 Receiver 90 Day Baseline</vt:lpstr>
      <vt:lpstr>L1-L2 Receiver Temperature Sensitivity</vt:lpstr>
      <vt:lpstr>PRTC-B TP4100 Multi-Band 18 Day Baseline Test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laudia Spates</dc:creator>
  <cp:lastModifiedBy>George Zampetti</cp:lastModifiedBy>
  <cp:revision>163</cp:revision>
  <dcterms:created xsi:type="dcterms:W3CDTF">2018-06-05T21:41:24Z</dcterms:created>
  <dcterms:modified xsi:type="dcterms:W3CDTF">2018-10-19T05:4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7356762F8AC54AA1A25B7661409940</vt:lpwstr>
  </property>
</Properties>
</file>